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2" r:id="rId6"/>
  </p:sldMasterIdLst>
  <p:notesMasterIdLst>
    <p:notesMasterId r:id="rId11"/>
  </p:notesMasterIdLst>
  <p:sldIdLst>
    <p:sldId id="1017" r:id="rId7"/>
    <p:sldId id="3047" r:id="rId8"/>
    <p:sldId id="2103812480" r:id="rId9"/>
    <p:sldId id="210381246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2" autoAdjust="0"/>
    <p:restoredTop sz="94660"/>
  </p:normalViewPr>
  <p:slideViewPr>
    <p:cSldViewPr snapToGrid="0">
      <p:cViewPr varScale="1">
        <p:scale>
          <a:sx n="89" d="100"/>
          <a:sy n="89" d="100"/>
        </p:scale>
        <p:origin x="461"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e, Shane" userId="61be624f-579d-45e8-95fb-765abedad130" providerId="ADAL" clId="{D8A0213B-013B-43CB-BFF0-F984CC0EBE83}"/>
    <pc:docChg chg="modSld">
      <pc:chgData name="Ye, Shane" userId="61be624f-579d-45e8-95fb-765abedad130" providerId="ADAL" clId="{D8A0213B-013B-43CB-BFF0-F984CC0EBE83}" dt="2020-08-19T21:09:42.089" v="0" actId="5793"/>
      <pc:docMkLst>
        <pc:docMk/>
      </pc:docMkLst>
      <pc:sldChg chg="modSp">
        <pc:chgData name="Ye, Shane" userId="61be624f-579d-45e8-95fb-765abedad130" providerId="ADAL" clId="{D8A0213B-013B-43CB-BFF0-F984CC0EBE83}" dt="2020-08-19T21:09:42.089" v="0" actId="5793"/>
        <pc:sldMkLst>
          <pc:docMk/>
          <pc:sldMk cId="1779286897" sldId="1017"/>
        </pc:sldMkLst>
        <pc:spChg chg="mod">
          <ac:chgData name="Ye, Shane" userId="61be624f-579d-45e8-95fb-765abedad130" providerId="ADAL" clId="{D8A0213B-013B-43CB-BFF0-F984CC0EBE83}" dt="2020-08-19T21:09:42.089" v="0" actId="5793"/>
          <ac:spMkLst>
            <pc:docMk/>
            <pc:sldMk cId="1779286897" sldId="1017"/>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8D47AF-6BB0-4B55-825D-29FAEEFD02FA}" type="datetimeFigureOut">
              <a:rPr lang="en-US" smtClean="0"/>
              <a:t>8/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AB6E41-7129-4867-AA2A-636C57C75EB1}" type="slidenum">
              <a:rPr lang="en-US" smtClean="0"/>
              <a:t>‹#›</a:t>
            </a:fld>
            <a:endParaRPr lang="en-US"/>
          </a:p>
        </p:txBody>
      </p:sp>
    </p:spTree>
    <p:extLst>
      <p:ext uri="{BB962C8B-B14F-4D97-AF65-F5344CB8AC3E}">
        <p14:creationId xmlns:p14="http://schemas.microsoft.com/office/powerpoint/2010/main" val="299975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an optimized IR format model has been generated by MO, the next step is to implement the model into your computer vision application. This is where you will start to use the Inference Engine API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889956-7041-41AC-97B5-8DE670E7B5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01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tel Neural Compute Stick 2, also known as Intel NCS2, is a Plug and Play Development Kit for Inferencing, it has the USB3.1 Type-A form-factor, features with one Intel </a:t>
            </a:r>
            <a:r>
              <a:rPr lang="en-US" sz="1200" kern="1200" dirty="0" err="1">
                <a:solidFill>
                  <a:schemeClr val="tx1"/>
                </a:solidFill>
                <a:effectLst/>
                <a:latin typeface="+mn-lt"/>
                <a:ea typeface="+mn-ea"/>
                <a:cs typeface="+mn-cs"/>
              </a:rPr>
              <a:t>Movidius</a:t>
            </a:r>
            <a:r>
              <a:rPr lang="en-US" sz="1200" kern="1200" dirty="0">
                <a:solidFill>
                  <a:schemeClr val="tx1"/>
                </a:solidFill>
                <a:effectLst/>
                <a:latin typeface="+mn-lt"/>
                <a:ea typeface="+mn-ea"/>
                <a:cs typeface="+mn-cs"/>
              </a:rPr>
              <a:t> Myriad X VPU, and good for prototyping with low-cost edge devices, such as Raspberry Pi* and other Arm* host devices. It supports Ubuntu* 16.04 or 18.04 LTS (64 bit), Windows 10 (64 bit), CentOS 7.4 (64 bit), macOS 10.4.4, Raspbian* OS. The supported frameworks follows the OpenVINO toolkit, and the supported layers can be found in </a:t>
            </a:r>
            <a:r>
              <a:rPr lang="en-US" sz="1200" kern="1200" dirty="0" err="1">
                <a:solidFill>
                  <a:schemeClr val="tx1"/>
                </a:solidFill>
                <a:effectLst/>
                <a:latin typeface="+mn-lt"/>
                <a:ea typeface="+mn-ea"/>
                <a:cs typeface="+mn-cs"/>
              </a:rPr>
              <a:t>OpenVINO’s</a:t>
            </a:r>
            <a:r>
              <a:rPr lang="en-US" sz="1200" kern="1200" dirty="0">
                <a:solidFill>
                  <a:schemeClr val="tx1"/>
                </a:solidFill>
                <a:effectLst/>
                <a:latin typeface="+mn-lt"/>
                <a:ea typeface="+mn-ea"/>
                <a:cs typeface="+mn-cs"/>
              </a:rPr>
              <a:t> documentatio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E0486-6517-4D71-A57D-ABDC93E91E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6061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side the NCS2, the architecture of the Intel </a:t>
            </a:r>
            <a:r>
              <a:rPr lang="en-US" sz="1200" kern="1200" dirty="0" err="1">
                <a:solidFill>
                  <a:schemeClr val="tx1"/>
                </a:solidFill>
                <a:effectLst/>
                <a:latin typeface="+mn-lt"/>
                <a:ea typeface="+mn-ea"/>
                <a:cs typeface="+mn-cs"/>
              </a:rPr>
              <a:t>Movidius</a:t>
            </a:r>
            <a:r>
              <a:rPr lang="en-US" sz="1200" kern="1200" dirty="0">
                <a:solidFill>
                  <a:schemeClr val="tx1"/>
                </a:solidFill>
                <a:effectLst/>
                <a:latin typeface="+mn-lt"/>
                <a:ea typeface="+mn-ea"/>
                <a:cs typeface="+mn-cs"/>
              </a:rPr>
              <a:t> Myriad X VPU is shown on this slide. The key components of Myriad X VPU are the Neural Compute Engine and 16 Programmable SHAVE Cores. The neural compute engine is the dedicated hardware accelerator for running on-device deep neural network interfacing directly with other components via the intelligent memory fabric. The programmable SHAVE Cores can be used to run traditional computer vision workloads or can complement the Neural Compute Engine by running the layer types not supported out of the box. The VPU also features a hardware-based encoder for up to 4K video resolution and includes a new stereo depth block that is capable of processing dual 720p feeds at up to 180Hz. As a result, the VPU can be used as a single-chip solution for all imaging, computer vision, and CNN workload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F46E1-E891-034A-903A-4B922A1B94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027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are some accelerators based on Intel </a:t>
            </a:r>
            <a:r>
              <a:rPr lang="en-US" sz="1200" kern="1200" dirty="0" err="1">
                <a:solidFill>
                  <a:schemeClr val="tx1"/>
                </a:solidFill>
                <a:effectLst/>
                <a:latin typeface="+mn-lt"/>
                <a:ea typeface="+mn-ea"/>
                <a:cs typeface="+mn-cs"/>
              </a:rPr>
              <a:t>Movidius</a:t>
            </a:r>
            <a:r>
              <a:rPr lang="en-US" sz="1200" kern="1200" dirty="0">
                <a:solidFill>
                  <a:schemeClr val="tx1"/>
                </a:solidFill>
                <a:effectLst/>
                <a:latin typeface="+mn-lt"/>
                <a:ea typeface="+mn-ea"/>
                <a:cs typeface="+mn-cs"/>
              </a:rPr>
              <a:t> Myriad X VPU, they are available on the market, manufactured by Intel partners. These accelerators implement one or more VPUs on a single modular board, as you can see from here, on the left, it is an M.2 form-factor board with one VPU on it, in the middle, a mini-PCIe interfaced board with 2 VPUs, and on the right hand is a standard PCIe x4 card contains 8 VPU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3FB3FA-C830-445B-A142-1E421B2C8A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852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software.intel.com/en-us/articles/optimization-notice" TargetMode="Externa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image" Target="../media/image11.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FBA0F-FDF6-4B81-9E6A-AD1131CEDE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E8359B-7221-44AC-8836-B52803FF6A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96606D1-F56D-40D2-9E84-34E8F2E002B2}"/>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32F384FB-5470-40B0-862A-DC39D84727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107821-E453-4469-A1BF-E802A3E84893}"/>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2318638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32C58-2E26-4D3E-BBD8-C0386F2845C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4C3430-644F-40FC-AF2C-2F622155BE0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B6BF8D-7AA0-43A0-B832-7E482FB0D9DD}"/>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BC2737E3-150D-4245-9F1E-BC6B1742C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F36FA6-9EF8-4ABD-9986-698863F8FF50}"/>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4110679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DA8C06-74E2-453D-91AF-121ED1F232D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ED409F-AB76-44DA-8193-062FF9C092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8C6FA4-2A3F-4749-BE3A-5F773846C47F}"/>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F1EB580B-B8F8-48EF-8D66-5E47FA694B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F0F276-BA90-4B39-94FB-CDF0361B9915}"/>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5313647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92916" y="2503438"/>
            <a:ext cx="10950515" cy="1470025"/>
          </a:xfrm>
        </p:spPr>
        <p:txBody>
          <a:bodyPr lIns="0" rIns="0" anchor="b" anchorCtr="0">
            <a:noAutofit/>
          </a:bodyPr>
          <a:lstStyle>
            <a:lvl1pPr>
              <a:lnSpc>
                <a:spcPct val="75000"/>
              </a:lnSpc>
              <a:defRPr sz="11733" b="0" spc="0" baseline="0">
                <a:solidFill>
                  <a:schemeClr val="bg1"/>
                </a:solidFill>
                <a:latin typeface="+mj-lt"/>
                <a:cs typeface="Intel Clear Pro" panose="020B0804020202060201" pitchFamily="34" charset="0"/>
              </a:defRPr>
            </a:lvl1pPr>
          </a:lstStyle>
          <a:p>
            <a:r>
              <a:rPr lang="en-US"/>
              <a:t>title</a:t>
            </a:r>
          </a:p>
        </p:txBody>
      </p:sp>
      <p:sp>
        <p:nvSpPr>
          <p:cNvPr id="3" name="Subtitle 2"/>
          <p:cNvSpPr>
            <a:spLocks noGrp="1"/>
          </p:cNvSpPr>
          <p:nvPr>
            <p:ph type="subTitle" idx="1" hasCustomPrompt="1"/>
          </p:nvPr>
        </p:nvSpPr>
        <p:spPr>
          <a:xfrm>
            <a:off x="607484" y="5159281"/>
            <a:ext cx="8440283" cy="377704"/>
          </a:xfrm>
        </p:spPr>
        <p:txBody>
          <a:bodyPr lIns="0" rIns="0">
            <a:noAutofit/>
          </a:bodyPr>
          <a:lstStyle>
            <a:lvl1pPr marL="0" indent="0" algn="l">
              <a:buNone/>
              <a:defRPr sz="1400" b="0" i="0" spc="133" baseline="0">
                <a:solidFill>
                  <a:srgbClr val="FFFFFF"/>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16pt Intel Clear Subhead, Date, Etc.</a:t>
            </a:r>
          </a:p>
        </p:txBody>
      </p:sp>
      <p:pic>
        <p:nvPicPr>
          <p:cNvPr id="5" name="Picture 2" descr="\\.psf\Home\Desktop\Intel.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07484" y="6295761"/>
            <a:ext cx="485781" cy="320175"/>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Date Placeholder 4"/>
          <p:cNvSpPr>
            <a:spLocks noGrp="1"/>
          </p:cNvSpPr>
          <p:nvPr>
            <p:ph type="dt" sz="half" idx="2"/>
          </p:nvPr>
        </p:nvSpPr>
        <p:spPr>
          <a:xfrm>
            <a:off x="607484" y="5377393"/>
            <a:ext cx="2844800" cy="366183"/>
          </a:xfrm>
          <a:prstGeom prst="rect">
            <a:avLst/>
          </a:prstGeom>
        </p:spPr>
        <p:txBody>
          <a:bodyPr vert="horz" lIns="0" tIns="45720" rIns="91440" bIns="0" rtlCol="0" anchor="ctr"/>
          <a:lstStyle>
            <a:lvl1pPr algn="l">
              <a:defRPr sz="1067">
                <a:solidFill>
                  <a:srgbClr val="FFFFFF"/>
                </a:solidFill>
              </a:defRPr>
            </a:lvl1pPr>
          </a:lstStyle>
          <a:p>
            <a:endParaRPr lang="en-US"/>
          </a:p>
        </p:txBody>
      </p:sp>
    </p:spTree>
    <p:extLst>
      <p:ext uri="{BB962C8B-B14F-4D97-AF65-F5344CB8AC3E}">
        <p14:creationId xmlns:p14="http://schemas.microsoft.com/office/powerpoint/2010/main" val="225077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651905"/>
            <a:ext cx="10972800" cy="1158240"/>
          </a:xfrm>
        </p:spPr>
        <p:txBody>
          <a:bodyPr anchor="ctr" anchorCtr="0"/>
          <a:lstStyle>
            <a:lvl1pPr algn="ctr">
              <a:lnSpc>
                <a:spcPct val="85000"/>
              </a:lnSpc>
              <a:defRPr sz="8000" spc="800">
                <a:solidFill>
                  <a:schemeClr val="accent1"/>
                </a:solidFill>
                <a:latin typeface="+mj-lt"/>
              </a:defRPr>
            </a:lvl1pPr>
          </a:lstStyle>
          <a:p>
            <a:r>
              <a:rPr lang="en-US"/>
              <a:t>Divider title</a:t>
            </a:r>
          </a:p>
        </p:txBody>
      </p:sp>
      <p:sp>
        <p:nvSpPr>
          <p:cNvPr id="4" name="Footer Placeholder 3"/>
          <p:cNvSpPr>
            <a:spLocks noGrp="1"/>
          </p:cNvSpPr>
          <p:nvPr>
            <p:ph type="ftr" sz="quarter" idx="11"/>
          </p:nvPr>
        </p:nvSpPr>
        <p:spPr>
          <a:xfrm>
            <a:off x="607484" y="169185"/>
            <a:ext cx="3860800" cy="366183"/>
          </a:xfrm>
          <a:prstGeom prst="rect">
            <a:avLst/>
          </a:prstGeom>
        </p:spPr>
        <p:txBody>
          <a:bodyPr/>
          <a:lstStyle>
            <a:lvl1pPr>
              <a:defRPr>
                <a:solidFill>
                  <a:schemeClr val="bg1"/>
                </a:solidFill>
              </a:defRPr>
            </a:lvl1pPr>
          </a:lstStyle>
          <a:p>
            <a:r>
              <a:rPr lang="en-US"/>
              <a:t>THE DECK TITLE | SECTION</a:t>
            </a:r>
          </a:p>
        </p:txBody>
      </p:sp>
    </p:spTree>
    <p:extLst>
      <p:ext uri="{BB962C8B-B14F-4D97-AF65-F5344CB8AC3E}">
        <p14:creationId xmlns:p14="http://schemas.microsoft.com/office/powerpoint/2010/main" val="235728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Divider">
    <p:bg>
      <p:bgPr>
        <a:solidFill>
          <a:srgbClr val="6DBDE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651905"/>
            <a:ext cx="10972800" cy="1158240"/>
          </a:xfrm>
        </p:spPr>
        <p:txBody>
          <a:bodyPr anchor="ctr" anchorCtr="0"/>
          <a:lstStyle>
            <a:lvl1pPr algn="ctr">
              <a:lnSpc>
                <a:spcPct val="85000"/>
              </a:lnSpc>
              <a:defRPr sz="8000" spc="800">
                <a:solidFill>
                  <a:schemeClr val="accent1"/>
                </a:solidFill>
                <a:latin typeface="+mj-lt"/>
              </a:defRPr>
            </a:lvl1pPr>
          </a:lstStyle>
          <a:p>
            <a:r>
              <a:rPr lang="en-US"/>
              <a:t>Divider title</a:t>
            </a:r>
          </a:p>
        </p:txBody>
      </p:sp>
      <p:sp>
        <p:nvSpPr>
          <p:cNvPr id="4" name="Footer Placeholder 3"/>
          <p:cNvSpPr>
            <a:spLocks noGrp="1"/>
          </p:cNvSpPr>
          <p:nvPr>
            <p:ph type="ftr" sz="quarter" idx="11"/>
          </p:nvPr>
        </p:nvSpPr>
        <p:spPr>
          <a:xfrm>
            <a:off x="607484" y="169185"/>
            <a:ext cx="3860800" cy="366183"/>
          </a:xfrm>
          <a:prstGeom prst="rect">
            <a:avLst/>
          </a:prstGeom>
        </p:spPr>
        <p:txBody>
          <a:bodyPr/>
          <a:lstStyle>
            <a:lvl1pPr>
              <a:defRPr>
                <a:solidFill>
                  <a:schemeClr val="bg1"/>
                </a:solidFill>
              </a:defRPr>
            </a:lvl1pPr>
          </a:lstStyle>
          <a:p>
            <a:r>
              <a:rPr lang="en-US"/>
              <a:t>THE DECK TITLE | SECTION</a:t>
            </a:r>
          </a:p>
        </p:txBody>
      </p:sp>
    </p:spTree>
    <p:extLst>
      <p:ext uri="{BB962C8B-B14F-4D97-AF65-F5344CB8AC3E}">
        <p14:creationId xmlns:p14="http://schemas.microsoft.com/office/powerpoint/2010/main" val="3714555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Divider">
    <p:bg>
      <p:bgPr>
        <a:solidFill>
          <a:srgbClr val="CFE46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651905"/>
            <a:ext cx="10972800" cy="1158240"/>
          </a:xfrm>
        </p:spPr>
        <p:txBody>
          <a:bodyPr anchor="ctr" anchorCtr="0"/>
          <a:lstStyle>
            <a:lvl1pPr algn="ctr">
              <a:lnSpc>
                <a:spcPct val="85000"/>
              </a:lnSpc>
              <a:defRPr sz="8000" spc="800">
                <a:solidFill>
                  <a:schemeClr val="accent1"/>
                </a:solidFill>
                <a:latin typeface="+mj-lt"/>
              </a:defRPr>
            </a:lvl1pPr>
          </a:lstStyle>
          <a:p>
            <a:r>
              <a:rPr lang="en-US"/>
              <a:t>Divider title</a:t>
            </a:r>
          </a:p>
        </p:txBody>
      </p:sp>
      <p:sp>
        <p:nvSpPr>
          <p:cNvPr id="4" name="Footer Placeholder 3"/>
          <p:cNvSpPr>
            <a:spLocks noGrp="1"/>
          </p:cNvSpPr>
          <p:nvPr>
            <p:ph type="ftr" sz="quarter" idx="11"/>
          </p:nvPr>
        </p:nvSpPr>
        <p:spPr>
          <a:xfrm>
            <a:off x="607484" y="169185"/>
            <a:ext cx="3860800" cy="366183"/>
          </a:xfrm>
          <a:prstGeom prst="rect">
            <a:avLst/>
          </a:prstGeom>
        </p:spPr>
        <p:txBody>
          <a:bodyPr/>
          <a:lstStyle>
            <a:lvl1pPr>
              <a:defRPr>
                <a:solidFill>
                  <a:schemeClr val="bg1"/>
                </a:solidFill>
              </a:defRPr>
            </a:lvl1pPr>
          </a:lstStyle>
          <a:p>
            <a:r>
              <a:rPr lang="en-US"/>
              <a:t>THE DECK TITLE | SECTION</a:t>
            </a:r>
          </a:p>
        </p:txBody>
      </p:sp>
    </p:spTree>
    <p:extLst>
      <p:ext uri="{BB962C8B-B14F-4D97-AF65-F5344CB8AC3E}">
        <p14:creationId xmlns:p14="http://schemas.microsoft.com/office/powerpoint/2010/main" val="115182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Divider">
    <p:bg>
      <p:bgPr>
        <a:solidFill>
          <a:srgbClr val="F79A4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7484" y="2651905"/>
            <a:ext cx="10972800" cy="1158240"/>
          </a:xfrm>
        </p:spPr>
        <p:txBody>
          <a:bodyPr anchor="ctr" anchorCtr="0"/>
          <a:lstStyle>
            <a:lvl1pPr algn="ctr">
              <a:lnSpc>
                <a:spcPct val="85000"/>
              </a:lnSpc>
              <a:defRPr sz="8000" spc="800">
                <a:solidFill>
                  <a:schemeClr val="accent1"/>
                </a:solidFill>
                <a:latin typeface="+mj-lt"/>
              </a:defRPr>
            </a:lvl1pPr>
          </a:lstStyle>
          <a:p>
            <a:r>
              <a:rPr lang="en-US"/>
              <a:t>Divider title</a:t>
            </a:r>
          </a:p>
        </p:txBody>
      </p:sp>
      <p:sp>
        <p:nvSpPr>
          <p:cNvPr id="4" name="Footer Placeholder 3"/>
          <p:cNvSpPr>
            <a:spLocks noGrp="1"/>
          </p:cNvSpPr>
          <p:nvPr>
            <p:ph type="ftr" sz="quarter" idx="11"/>
          </p:nvPr>
        </p:nvSpPr>
        <p:spPr>
          <a:xfrm>
            <a:off x="607484" y="169185"/>
            <a:ext cx="3860800" cy="366183"/>
          </a:xfrm>
          <a:prstGeom prst="rect">
            <a:avLst/>
          </a:prstGeom>
        </p:spPr>
        <p:txBody>
          <a:bodyPr/>
          <a:lstStyle>
            <a:lvl1pPr>
              <a:defRPr>
                <a:solidFill>
                  <a:schemeClr val="bg1"/>
                </a:solidFill>
              </a:defRPr>
            </a:lvl1pPr>
          </a:lstStyle>
          <a:p>
            <a:r>
              <a:rPr lang="en-US"/>
              <a:t>THE DECK TITLE | SECTION</a:t>
            </a:r>
          </a:p>
        </p:txBody>
      </p:sp>
    </p:spTree>
    <p:extLst>
      <p:ext uri="{BB962C8B-B14F-4D97-AF65-F5344CB8AC3E}">
        <p14:creationId xmlns:p14="http://schemas.microsoft.com/office/powerpoint/2010/main" val="41870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Column Tex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2556C5-CE8C-6547-B838-EA80C61A4AF7}" type="slidenum">
              <a:rPr lang="en-US" smtClean="0"/>
              <a:pPr/>
              <a:t>‹#›</a:t>
            </a:fld>
            <a:endParaRPr lang="en-US"/>
          </a:p>
        </p:txBody>
      </p:sp>
      <p:sp>
        <p:nvSpPr>
          <p:cNvPr id="15" name="Content Placeholder 2"/>
          <p:cNvSpPr>
            <a:spLocks noGrp="1"/>
          </p:cNvSpPr>
          <p:nvPr>
            <p:ph sz="half" idx="1" hasCustomPrompt="1"/>
          </p:nvPr>
        </p:nvSpPr>
        <p:spPr>
          <a:xfrm>
            <a:off x="609600" y="1828800"/>
            <a:ext cx="10972800" cy="4267200"/>
          </a:xfrm>
        </p:spPr>
        <p:txBody>
          <a:bodyPr vert="horz" lIns="0" tIns="0" rIns="0" bIns="0" rtlCol="0">
            <a:noAutofit/>
          </a:bodyPr>
          <a:lstStyle>
            <a:lvl1pPr>
              <a:defRPr lang="en-US" sz="2133" b="1" dirty="0" smtClean="0"/>
            </a:lvl1pPr>
            <a:lvl2pPr>
              <a:defRPr lang="en-US" sz="1867" dirty="0" smtClean="0"/>
            </a:lvl2pPr>
            <a:lvl3pPr>
              <a:defRPr lang="en-US" sz="1867" dirty="0" smtClean="0"/>
            </a:lvl3pPr>
            <a:lvl4pPr>
              <a:defRPr lang="en-US" sz="1600" dirty="0" smtClean="0"/>
            </a:lvl4pPr>
            <a:lvl5pPr>
              <a:defRPr lang="en-US" sz="1600" dirty="0"/>
            </a:lvl5pPr>
          </a:lstStyle>
          <a:p>
            <a:pPr lvl="0"/>
            <a:r>
              <a:rPr lang="en-US"/>
              <a:t>16pt Intel Clear Bold</a:t>
            </a:r>
          </a:p>
          <a:p>
            <a:pPr marL="0" lvl="1" indent="0">
              <a:spcBef>
                <a:spcPts val="1067"/>
              </a:spcBef>
              <a:buNone/>
            </a:pPr>
            <a:r>
              <a:rPr lang="en-US"/>
              <a:t>14pt Intel Clear bullet one</a:t>
            </a:r>
          </a:p>
          <a:p>
            <a:pPr marL="154513" lvl="2" indent="-154513">
              <a:spcBef>
                <a:spcPts val="533"/>
              </a:spcBef>
              <a:buFont typeface="Wingdings" charset="2"/>
              <a:buChar char="§"/>
            </a:pPr>
            <a:r>
              <a:rPr lang="en-US"/>
              <a:t>14pt Intel Clear third level</a:t>
            </a:r>
          </a:p>
          <a:p>
            <a:pPr marL="378875" lvl="3" indent="-156629"/>
            <a:r>
              <a:rPr lang="en-US"/>
              <a:t>12pt Intel Clear fourth level</a:t>
            </a:r>
          </a:p>
          <a:p>
            <a:pPr marL="611702" lvl="4" indent="-148163">
              <a:tabLst/>
            </a:pPr>
            <a:r>
              <a:rPr lang="en-US"/>
              <a:t>12pt Intel Clear fifth level</a:t>
            </a:r>
          </a:p>
        </p:txBody>
      </p:sp>
      <p:sp>
        <p:nvSpPr>
          <p:cNvPr id="8" name="Title 6"/>
          <p:cNvSpPr>
            <a:spLocks noGrp="1"/>
          </p:cNvSpPr>
          <p:nvPr>
            <p:ph type="title" hasCustomPrompt="1"/>
          </p:nvPr>
        </p:nvSpPr>
        <p:spPr>
          <a:xfrm>
            <a:off x="607484" y="943090"/>
            <a:ext cx="10972800" cy="615553"/>
          </a:xfrm>
        </p:spPr>
        <p:txBody>
          <a:bodyPr vert="horz" lIns="0" tIns="0" rIns="0" bIns="0" rtlCol="0" anchor="t" anchorCtr="0">
            <a:spAutoFit/>
          </a:bodyPr>
          <a:lstStyle>
            <a:lvl1pPr>
              <a:defRPr lang="en-US" sz="5333" baseline="0" dirty="0">
                <a:solidFill>
                  <a:schemeClr val="tx1"/>
                </a:solidFill>
              </a:defRPr>
            </a:lvl1pPr>
          </a:lstStyle>
          <a:p>
            <a:pPr lvl="0"/>
            <a:r>
              <a:rPr lang="en-US"/>
              <a:t>Single column with text</a:t>
            </a:r>
          </a:p>
        </p:txBody>
      </p:sp>
      <p:pic>
        <p:nvPicPr>
          <p:cNvPr id="11" name="Picture 10" descr="Intel_b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82985" y="6278736"/>
            <a:ext cx="536448" cy="354667"/>
          </a:xfrm>
          <a:prstGeom prst="rect">
            <a:avLst/>
          </a:prstGeom>
        </p:spPr>
      </p:pic>
      <p:grpSp>
        <p:nvGrpSpPr>
          <p:cNvPr id="9" name="Group 8"/>
          <p:cNvGrpSpPr/>
          <p:nvPr userDrawn="1"/>
        </p:nvGrpSpPr>
        <p:grpSpPr>
          <a:xfrm>
            <a:off x="11504759" y="988423"/>
            <a:ext cx="0" cy="5120640"/>
            <a:chOff x="4159306" y="279"/>
            <a:chExt cx="0" cy="5130936"/>
          </a:xfrm>
        </p:grpSpPr>
        <p:cxnSp>
          <p:nvCxnSpPr>
            <p:cNvPr id="10" name="Straight Connector 9"/>
            <p:cNvCxnSpPr/>
            <p:nvPr userDrawn="1"/>
          </p:nvCxnSpPr>
          <p:spPr>
            <a:xfrm>
              <a:off x="4159306" y="1336455"/>
              <a:ext cx="0" cy="379476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4159306" y="776611"/>
              <a:ext cx="0" cy="475488"/>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4159306" y="454512"/>
              <a:ext cx="0" cy="237744"/>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4159306" y="251285"/>
              <a:ext cx="0" cy="118872"/>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4159306" y="112066"/>
              <a:ext cx="0" cy="54864"/>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4159306" y="279"/>
              <a:ext cx="0" cy="27432"/>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19" name="Footer Placeholder 3">
            <a:extLst>
              <a:ext uri="{FF2B5EF4-FFF2-40B4-BE49-F238E27FC236}">
                <a16:creationId xmlns:a16="http://schemas.microsoft.com/office/drawing/2014/main" id="{0CD21A27-8849-41AC-B0CA-10BA7A284E47}"/>
              </a:ext>
            </a:extLst>
          </p:cNvPr>
          <p:cNvSpPr>
            <a:spLocks noGrp="1"/>
          </p:cNvSpPr>
          <p:nvPr>
            <p:ph type="ftr" sz="quarter" idx="3"/>
          </p:nvPr>
        </p:nvSpPr>
        <p:spPr>
          <a:xfrm>
            <a:off x="607483" y="169185"/>
            <a:ext cx="6153535" cy="366183"/>
          </a:xfrm>
          <a:prstGeom prst="rect">
            <a:avLst/>
          </a:prstGeom>
        </p:spPr>
        <p:txBody>
          <a:bodyPr vert="horz" lIns="0" tIns="0" rIns="0" bIns="0" rtlCol="0" anchor="ctr"/>
          <a:lstStyle>
            <a:lvl1pPr>
              <a:defRPr lang="en-US" sz="933" b="1" spc="400">
                <a:solidFill>
                  <a:srgbClr val="000000"/>
                </a:solidFill>
                <a:cs typeface="Intel Clear"/>
              </a:defRPr>
            </a:lvl1pPr>
          </a:lstStyle>
          <a:p>
            <a:r>
              <a:rPr lang="en-US"/>
              <a:t>INTEL® DISTRIBUTION OF O</a:t>
            </a:r>
            <a:r>
              <a:rPr lang="en-US" sz="800"/>
              <a:t>PEN</a:t>
            </a:r>
            <a:r>
              <a:rPr lang="en-US"/>
              <a:t>VINO™ TOOLKIT</a:t>
            </a:r>
          </a:p>
        </p:txBody>
      </p:sp>
      <p:pic>
        <p:nvPicPr>
          <p:cNvPr id="20" name="Picture 19">
            <a:extLst>
              <a:ext uri="{FF2B5EF4-FFF2-40B4-BE49-F238E27FC236}">
                <a16:creationId xmlns:a16="http://schemas.microsoft.com/office/drawing/2014/main" id="{A2E136F0-676E-4B61-9ED3-84EE18ACAB4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956801" y="268003"/>
            <a:ext cx="1542473" cy="314151"/>
          </a:xfrm>
          <a:prstGeom prst="rect">
            <a:avLst/>
          </a:prstGeom>
        </p:spPr>
      </p:pic>
      <p:sp>
        <p:nvSpPr>
          <p:cNvPr id="21" name="Rectangle 20">
            <a:extLst>
              <a:ext uri="{FF2B5EF4-FFF2-40B4-BE49-F238E27FC236}">
                <a16:creationId xmlns:a16="http://schemas.microsoft.com/office/drawing/2014/main" id="{D7A5E92F-8B76-44FC-A0B2-5624537A4749}"/>
              </a:ext>
            </a:extLst>
          </p:cNvPr>
          <p:cNvSpPr/>
          <p:nvPr userDrawn="1"/>
        </p:nvSpPr>
        <p:spPr>
          <a:xfrm>
            <a:off x="1119433" y="6192308"/>
            <a:ext cx="3844322" cy="523028"/>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933">
                <a:solidFill>
                  <a:schemeClr val="tx1"/>
                </a:solidFill>
                <a:hlinkClick r:id="rId4"/>
              </a:rPr>
              <a:t>Optimization Notice</a:t>
            </a:r>
            <a:endParaRPr lang="en-US" sz="933">
              <a:solidFill>
                <a:schemeClr val="tx1"/>
              </a:solidFill>
            </a:endParaRPr>
          </a:p>
          <a:p>
            <a:pPr marL="0" marR="0" lvl="0" indent="0" algn="l" defTabSz="609585" rtl="0" eaLnBrk="1" fontAlgn="auto" latinLnBrk="0" hangingPunct="1">
              <a:lnSpc>
                <a:spcPct val="100000"/>
              </a:lnSpc>
              <a:spcBef>
                <a:spcPts val="0"/>
              </a:spcBef>
              <a:spcAft>
                <a:spcPts val="0"/>
              </a:spcAft>
              <a:buClrTx/>
              <a:buSzTx/>
              <a:buFontTx/>
              <a:buNone/>
              <a:tabLst/>
              <a:defRPr/>
            </a:pPr>
            <a:r>
              <a:rPr lang="en-US" sz="933">
                <a:solidFill>
                  <a:schemeClr val="tx1"/>
                </a:solidFill>
              </a:rPr>
              <a:t>Copyright ©  2020, Intel Corporation. All rights reserved. </a:t>
            </a:r>
            <a:br>
              <a:rPr lang="en-US" sz="933">
                <a:solidFill>
                  <a:schemeClr val="tx1"/>
                </a:solidFill>
              </a:rPr>
            </a:br>
            <a:r>
              <a:rPr lang="en-US" sz="933">
                <a:solidFill>
                  <a:schemeClr val="tx1"/>
                </a:solidFill>
              </a:rPr>
              <a:t>*Other names and brands may be claimed as the property of others.</a:t>
            </a:r>
          </a:p>
        </p:txBody>
      </p:sp>
    </p:spTree>
    <p:extLst>
      <p:ext uri="{BB962C8B-B14F-4D97-AF65-F5344CB8AC3E}">
        <p14:creationId xmlns:p14="http://schemas.microsoft.com/office/powerpoint/2010/main" val="371952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a:xfrm>
            <a:off x="607484" y="2023873"/>
            <a:ext cx="10970683" cy="4567767"/>
          </a:xfrm>
        </p:spPr>
        <p:txBody>
          <a:bodyPr/>
          <a:lstStyle>
            <a:lvl1pPr>
              <a:defRPr sz="2133">
                <a:solidFill>
                  <a:srgbClr val="0071C5"/>
                </a:solidFill>
              </a:defRPr>
            </a:lvl1pPr>
            <a:lvl2pPr>
              <a:defRPr sz="1867">
                <a:solidFill>
                  <a:schemeClr val="tx2"/>
                </a:solidFill>
              </a:defRPr>
            </a:lvl2pPr>
            <a:lvl3pPr>
              <a:defRPr sz="1867">
                <a:solidFill>
                  <a:schemeClr val="tx2"/>
                </a:solidFill>
              </a:defRPr>
            </a:lvl3pPr>
            <a:lvl4pPr>
              <a:defRPr sz="1600">
                <a:solidFill>
                  <a:schemeClr val="tx2"/>
                </a:solidFill>
              </a:defRPr>
            </a:lvl4pPr>
            <a:lvl5pPr>
              <a:defRPr sz="1400">
                <a:solidFill>
                  <a:schemeClr val="tx2"/>
                </a:solidFill>
              </a:defRPr>
            </a:lvl5pPr>
          </a:lstStyle>
          <a:p>
            <a:pPr lvl="0"/>
            <a:r>
              <a:rPr lang="en-US"/>
              <a:t>16pt Intel Clear body text</a:t>
            </a:r>
          </a:p>
          <a:p>
            <a:pPr lvl="1"/>
            <a:r>
              <a:rPr lang="en-US"/>
              <a:t>14pt Intel Clear bullet one</a:t>
            </a:r>
          </a:p>
          <a:p>
            <a:pPr lvl="2"/>
            <a:r>
              <a:rPr lang="en-US"/>
              <a:t>14pt Intel Clear sub-bullet</a:t>
            </a:r>
          </a:p>
          <a:p>
            <a:pPr lvl="3"/>
            <a:r>
              <a:rPr lang="en-US"/>
              <a:t>12pt Intel Clear fourth level</a:t>
            </a:r>
          </a:p>
          <a:p>
            <a:pPr lvl="4"/>
            <a:r>
              <a:rPr lang="en-US"/>
              <a:t>12pt Intel Clear fifth level</a:t>
            </a:r>
          </a:p>
        </p:txBody>
      </p:sp>
      <p:sp>
        <p:nvSpPr>
          <p:cNvPr id="12" name="Footer Placeholder 3"/>
          <p:cNvSpPr>
            <a:spLocks noGrp="1"/>
          </p:cNvSpPr>
          <p:nvPr>
            <p:ph type="ftr" sz="quarter" idx="3"/>
          </p:nvPr>
        </p:nvSpPr>
        <p:spPr>
          <a:xfrm>
            <a:off x="607484" y="169185"/>
            <a:ext cx="3860800" cy="366183"/>
          </a:xfrm>
          <a:prstGeom prst="rect">
            <a:avLst/>
          </a:prstGeom>
        </p:spPr>
        <p:txBody>
          <a:bodyPr vert="horz" lIns="0" tIns="0" rIns="0" bIns="0" rtlCol="0" anchor="ctr"/>
          <a:lstStyle>
            <a:lvl1pPr>
              <a:defRPr lang="en-US" sz="933" b="1" spc="400">
                <a:solidFill>
                  <a:srgbClr val="000000"/>
                </a:solidFill>
                <a:cs typeface="Intel Clear"/>
              </a:defRPr>
            </a:lvl1pPr>
          </a:lstStyle>
          <a:p>
            <a:r>
              <a:rPr lang="en-US"/>
              <a:t>THE DECK TITLE | SECTION</a:t>
            </a:r>
          </a:p>
        </p:txBody>
      </p:sp>
      <p:pic>
        <p:nvPicPr>
          <p:cNvPr id="13" name="Picture 12" descr="Intel_b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82985" y="6278736"/>
            <a:ext cx="536448" cy="354667"/>
          </a:xfrm>
          <a:prstGeom prst="rect">
            <a:avLst/>
          </a:prstGeom>
        </p:spPr>
      </p:pic>
      <p:sp>
        <p:nvSpPr>
          <p:cNvPr id="15" name="Title Placeholder 1"/>
          <p:cNvSpPr>
            <a:spLocks noGrp="1"/>
          </p:cNvSpPr>
          <p:nvPr>
            <p:ph type="title" hasCustomPrompt="1"/>
          </p:nvPr>
        </p:nvSpPr>
        <p:spPr>
          <a:xfrm>
            <a:off x="607483" y="1094128"/>
            <a:ext cx="10974916" cy="852064"/>
          </a:xfrm>
          <a:prstGeom prst="rect">
            <a:avLst/>
          </a:prstGeom>
        </p:spPr>
        <p:txBody>
          <a:bodyPr vert="horz" lIns="0" tIns="0" rIns="0" bIns="0" rtlCol="0" anchor="t" anchorCtr="0">
            <a:noAutofit/>
          </a:bodyPr>
          <a:lstStyle>
            <a:lvl1pPr>
              <a:defRPr sz="4267"/>
            </a:lvl1pPr>
          </a:lstStyle>
          <a:p>
            <a:r>
              <a:rPr lang="en-US"/>
              <a:t>32pt Intel Clear pro bold Headline</a:t>
            </a:r>
          </a:p>
        </p:txBody>
      </p:sp>
      <p:sp>
        <p:nvSpPr>
          <p:cNvPr id="8" name="Slide Number Placeholder 10">
            <a:extLst>
              <a:ext uri="{FF2B5EF4-FFF2-40B4-BE49-F238E27FC236}">
                <a16:creationId xmlns:a16="http://schemas.microsoft.com/office/drawing/2014/main" id="{5E30F09D-3744-D54B-B1DF-00208CD815E3}"/>
              </a:ext>
            </a:extLst>
          </p:cNvPr>
          <p:cNvSpPr>
            <a:spLocks noGrp="1"/>
          </p:cNvSpPr>
          <p:nvPr>
            <p:ph type="sldNum" sz="quarter" idx="12"/>
          </p:nvPr>
        </p:nvSpPr>
        <p:spPr>
          <a:xfrm>
            <a:off x="8739068" y="6286744"/>
            <a:ext cx="2844800" cy="365125"/>
          </a:xfrm>
        </p:spPr>
        <p:txBody>
          <a:bodyPr/>
          <a:lstStyle/>
          <a:p>
            <a:fld id="{EE2556C5-CE8C-6547-B838-EA80C61A4AF7}" type="slidenum">
              <a:rPr lang="en-US" smtClean="0"/>
              <a:pPr/>
              <a:t>‹#›</a:t>
            </a:fld>
            <a:endParaRPr lang="en-US"/>
          </a:p>
        </p:txBody>
      </p:sp>
    </p:spTree>
    <p:extLst>
      <p:ext uri="{BB962C8B-B14F-4D97-AF65-F5344CB8AC3E}">
        <p14:creationId xmlns:p14="http://schemas.microsoft.com/office/powerpoint/2010/main" val="14592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E2556C5-CE8C-6547-B838-EA80C61A4AF7}" type="slidenum">
              <a:rPr lang="en-US" smtClean="0"/>
              <a:pPr/>
              <a:t>‹#›</a:t>
            </a:fld>
            <a:endParaRPr lang="en-US"/>
          </a:p>
        </p:txBody>
      </p:sp>
      <p:sp>
        <p:nvSpPr>
          <p:cNvPr id="10" name="Footer Placeholder 3"/>
          <p:cNvSpPr>
            <a:spLocks noGrp="1"/>
          </p:cNvSpPr>
          <p:nvPr>
            <p:ph type="ftr" sz="quarter" idx="3"/>
          </p:nvPr>
        </p:nvSpPr>
        <p:spPr>
          <a:xfrm>
            <a:off x="607484" y="169185"/>
            <a:ext cx="3860800" cy="366183"/>
          </a:xfrm>
          <a:prstGeom prst="rect">
            <a:avLst/>
          </a:prstGeom>
        </p:spPr>
        <p:txBody>
          <a:bodyPr vert="horz" lIns="0" tIns="0" rIns="0" bIns="0" rtlCol="0" anchor="ctr"/>
          <a:lstStyle>
            <a:lvl1pPr>
              <a:defRPr lang="en-US" sz="933" b="1" spc="400">
                <a:solidFill>
                  <a:srgbClr val="000000"/>
                </a:solidFill>
                <a:cs typeface="Intel Clear"/>
              </a:defRPr>
            </a:lvl1pPr>
          </a:lstStyle>
          <a:p>
            <a:r>
              <a:rPr lang="en-US"/>
              <a:t>THE DECK TITLE | SECTION</a:t>
            </a:r>
          </a:p>
        </p:txBody>
      </p:sp>
      <p:pic>
        <p:nvPicPr>
          <p:cNvPr id="11" name="Picture 10" descr="Intel_b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82985" y="6278736"/>
            <a:ext cx="536448" cy="354667"/>
          </a:xfrm>
          <a:prstGeom prst="rect">
            <a:avLst/>
          </a:prstGeom>
        </p:spPr>
      </p:pic>
      <p:sp>
        <p:nvSpPr>
          <p:cNvPr id="13" name="Title Placeholder 1"/>
          <p:cNvSpPr>
            <a:spLocks noGrp="1"/>
          </p:cNvSpPr>
          <p:nvPr>
            <p:ph type="title" hasCustomPrompt="1"/>
          </p:nvPr>
        </p:nvSpPr>
        <p:spPr>
          <a:xfrm>
            <a:off x="607483" y="1094128"/>
            <a:ext cx="10974916" cy="852064"/>
          </a:xfrm>
          <a:prstGeom prst="rect">
            <a:avLst/>
          </a:prstGeom>
        </p:spPr>
        <p:txBody>
          <a:bodyPr vert="horz" lIns="0" tIns="0" rIns="0" bIns="0" rtlCol="0" anchor="t" anchorCtr="0">
            <a:noAutofit/>
          </a:bodyPr>
          <a:lstStyle>
            <a:lvl1pPr>
              <a:defRPr sz="4267"/>
            </a:lvl1pPr>
          </a:lstStyle>
          <a:p>
            <a:r>
              <a:rPr lang="en-US"/>
              <a:t>32pt Intel Clear pro bold Headline</a:t>
            </a:r>
          </a:p>
        </p:txBody>
      </p:sp>
    </p:spTree>
    <p:extLst>
      <p:ext uri="{BB962C8B-B14F-4D97-AF65-F5344CB8AC3E}">
        <p14:creationId xmlns:p14="http://schemas.microsoft.com/office/powerpoint/2010/main" val="310500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88D02-B86F-41B4-B716-991E108C2C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54CDA6-B877-4220-BEA1-28CF50C29B9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E7ADB-0733-4FC6-8CA4-863B6556AF08}"/>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A08016AE-8778-4FAB-9069-07859A5071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ECF9CD-D491-4323-821B-F0E9F91DE1A8}"/>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28827995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E2556C5-CE8C-6547-B838-EA80C61A4AF7}" type="slidenum">
              <a:rPr lang="en-US" smtClean="0"/>
              <a:pPr/>
              <a:t>‹#›</a:t>
            </a:fld>
            <a:endParaRPr lang="en-US"/>
          </a:p>
        </p:txBody>
      </p:sp>
      <p:sp>
        <p:nvSpPr>
          <p:cNvPr id="8" name="Footer Placeholder 3"/>
          <p:cNvSpPr>
            <a:spLocks noGrp="1"/>
          </p:cNvSpPr>
          <p:nvPr>
            <p:ph type="ftr" sz="quarter" idx="3"/>
          </p:nvPr>
        </p:nvSpPr>
        <p:spPr>
          <a:xfrm>
            <a:off x="607484" y="169185"/>
            <a:ext cx="3860800" cy="366183"/>
          </a:xfrm>
          <a:prstGeom prst="rect">
            <a:avLst/>
          </a:prstGeom>
        </p:spPr>
        <p:txBody>
          <a:bodyPr vert="horz" lIns="0" tIns="0" rIns="0" bIns="0" rtlCol="0" anchor="ctr"/>
          <a:lstStyle>
            <a:lvl1pPr>
              <a:defRPr lang="en-US" sz="933" b="1" spc="400">
                <a:solidFill>
                  <a:srgbClr val="000000"/>
                </a:solidFill>
                <a:cs typeface="Intel Clear"/>
              </a:defRPr>
            </a:lvl1pPr>
          </a:lstStyle>
          <a:p>
            <a:r>
              <a:rPr lang="en-US"/>
              <a:t>THE DECK TITLE | SECTION</a:t>
            </a:r>
          </a:p>
        </p:txBody>
      </p:sp>
      <p:pic>
        <p:nvPicPr>
          <p:cNvPr id="9" name="Picture 8" descr="Intel_b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82985" y="6278736"/>
            <a:ext cx="536448" cy="354667"/>
          </a:xfrm>
          <a:prstGeom prst="rect">
            <a:avLst/>
          </a:prstGeom>
        </p:spPr>
      </p:pic>
    </p:spTree>
    <p:extLst>
      <p:ext uri="{BB962C8B-B14F-4D97-AF65-F5344CB8AC3E}">
        <p14:creationId xmlns:p14="http://schemas.microsoft.com/office/powerpoint/2010/main" val="260730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ack Cover Radial Gradient">
    <p:bg>
      <p:bgPr>
        <a:solidFill>
          <a:schemeClr val="accent1"/>
        </a:solidFill>
        <a:effectLst/>
      </p:bgPr>
    </p:bg>
    <p:spTree>
      <p:nvGrpSpPr>
        <p:cNvPr id="1" name=""/>
        <p:cNvGrpSpPr/>
        <p:nvPr/>
      </p:nvGrpSpPr>
      <p:grpSpPr>
        <a:xfrm>
          <a:off x="0" y="0"/>
          <a:ext cx="0" cy="0"/>
          <a:chOff x="0" y="0"/>
          <a:chExt cx="0" cy="0"/>
        </a:xfrm>
      </p:grpSpPr>
      <p:pic>
        <p:nvPicPr>
          <p:cNvPr id="4" name="Picture 2" descr="\\.psf\Home\Desktop\Intel.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653425" y="2323241"/>
            <a:ext cx="2811727" cy="18531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5254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Radial Gradient">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10" name="Picture 9" descr="int_experience_hrz_wht_rgb_1500.png"/>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614258" y="518971"/>
            <a:ext cx="2829021" cy="1183045"/>
          </a:xfrm>
          <a:prstGeom prst="rect">
            <a:avLst/>
          </a:prstGeom>
        </p:spPr>
      </p:pic>
      <p:sp>
        <p:nvSpPr>
          <p:cNvPr id="7" name="Subtitle 2"/>
          <p:cNvSpPr>
            <a:spLocks noGrp="1"/>
          </p:cNvSpPr>
          <p:nvPr>
            <p:ph type="subTitle" idx="1" hasCustomPrompt="1"/>
          </p:nvPr>
        </p:nvSpPr>
        <p:spPr>
          <a:xfrm>
            <a:off x="607484" y="4657344"/>
            <a:ext cx="8440283" cy="1233813"/>
          </a:xfrm>
        </p:spPr>
        <p:txBody>
          <a:bodyPr lIns="0" rIns="0">
            <a:noAutofit/>
          </a:bodyPr>
          <a:lstStyle>
            <a:lvl1pPr marL="0" indent="0" algn="l">
              <a:spcBef>
                <a:spcPts val="1200"/>
              </a:spcBef>
              <a:buNone/>
              <a:defRPr sz="1600" b="0" i="0" baseline="0">
                <a:solidFill>
                  <a:srgbClr val="F3D54E"/>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9" name="Title 1"/>
          <p:cNvSpPr>
            <a:spLocks noGrp="1"/>
          </p:cNvSpPr>
          <p:nvPr>
            <p:ph type="ctrTitle" hasCustomPrompt="1"/>
          </p:nvPr>
        </p:nvSpPr>
        <p:spPr>
          <a:xfrm>
            <a:off x="584449" y="3320957"/>
            <a:ext cx="10950515" cy="1336387"/>
          </a:xfrm>
        </p:spPr>
        <p:txBody>
          <a:bodyPr lIns="0" rIns="0" anchor="b" anchorCtr="0">
            <a:noAutofit/>
          </a:bodyPr>
          <a:lstStyle>
            <a:lvl1pPr>
              <a:lnSpc>
                <a:spcPts val="5500"/>
              </a:lnSpc>
              <a:spcBef>
                <a:spcPts val="2400"/>
              </a:spcBef>
              <a:defRPr sz="5000" b="0" spc="133" baseline="0">
                <a:solidFill>
                  <a:schemeClr val="bg1"/>
                </a:solidFill>
                <a:latin typeface="Intel Clear"/>
                <a:cs typeface="Intel Clear"/>
              </a:defRPr>
            </a:lvl1pPr>
          </a:lstStyle>
          <a:p>
            <a:r>
              <a:rPr lang="en-US" dirty="0"/>
              <a:t>50pt Intel Clear Title</a:t>
            </a:r>
            <a:br>
              <a:rPr lang="en-US" dirty="0"/>
            </a:br>
            <a:r>
              <a:rPr lang="en-US" dirty="0"/>
              <a:t>with Radial Gradient</a:t>
            </a:r>
          </a:p>
        </p:txBody>
      </p:sp>
    </p:spTree>
    <p:extLst>
      <p:ext uri="{BB962C8B-B14F-4D97-AF65-F5344CB8AC3E}">
        <p14:creationId xmlns:p14="http://schemas.microsoft.com/office/powerpoint/2010/main" val="12936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12192000" cy="6358467"/>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dirty="0"/>
              <a:t>Insert photo here. Drag picture to placeholder or click icon to add.</a:t>
            </a:r>
          </a:p>
        </p:txBody>
      </p:sp>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02397" y="510892"/>
            <a:ext cx="1664065" cy="1106467"/>
          </a:xfrm>
          <a:prstGeom prst="rect">
            <a:avLst/>
          </a:prstGeom>
          <a:noFill/>
          <a:extLst>
            <a:ext uri="{909E8E84-426E-40dd-AFC4-6F175D3DCCD1}">
              <a14:hiddenFill xmlns:a14="http://schemas.microsoft.com/office/drawing/2010/main" xmlns="">
                <a:solidFill>
                  <a:srgbClr val="FFFFFF"/>
                </a:solidFill>
              </a14:hiddenFill>
            </a:ext>
          </a:extLst>
        </p:spPr>
      </p:pic>
      <p:sp>
        <p:nvSpPr>
          <p:cNvPr id="7" name="Subtitle 2"/>
          <p:cNvSpPr>
            <a:spLocks noGrp="1"/>
          </p:cNvSpPr>
          <p:nvPr>
            <p:ph type="subTitle" idx="1" hasCustomPrompt="1"/>
          </p:nvPr>
        </p:nvSpPr>
        <p:spPr>
          <a:xfrm>
            <a:off x="607484" y="4657344"/>
            <a:ext cx="8440283" cy="1233813"/>
          </a:xfrm>
        </p:spPr>
        <p:txBody>
          <a:bodyPr lIns="0" rIns="0">
            <a:noAutofit/>
          </a:bodyPr>
          <a:lstStyle>
            <a:lvl1pPr marL="0" indent="0" algn="l">
              <a:buNone/>
              <a:defRPr sz="2133" b="0" i="0" baseline="0">
                <a:solidFill>
                  <a:srgbClr val="F3D54E"/>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12" name="Title 1"/>
          <p:cNvSpPr>
            <a:spLocks noGrp="1"/>
          </p:cNvSpPr>
          <p:nvPr>
            <p:ph type="ctrTitle" hasCustomPrompt="1"/>
          </p:nvPr>
        </p:nvSpPr>
        <p:spPr>
          <a:xfrm>
            <a:off x="584449" y="3372523"/>
            <a:ext cx="10950515" cy="1336387"/>
          </a:xfrm>
        </p:spPr>
        <p:txBody>
          <a:bodyPr lIns="0" rIns="0" anchor="b" anchorCtr="0">
            <a:noAutofit/>
          </a:bodyPr>
          <a:lstStyle>
            <a:lvl1pPr>
              <a:lnSpc>
                <a:spcPts val="7333"/>
              </a:lnSpc>
              <a:spcBef>
                <a:spcPts val="3200"/>
              </a:spcBef>
              <a:defRPr sz="6667" b="0" spc="133" baseline="0">
                <a:solidFill>
                  <a:schemeClr val="bg1"/>
                </a:solidFill>
                <a:latin typeface="Intel Clear"/>
                <a:cs typeface="Intel Clear"/>
              </a:defRPr>
            </a:lvl1pPr>
          </a:lstStyle>
          <a:p>
            <a:r>
              <a:rPr lang="en-US" dirty="0"/>
              <a:t>50pt Intel Clear Title</a:t>
            </a:r>
            <a:br>
              <a:rPr lang="en-US" dirty="0"/>
            </a:br>
            <a:r>
              <a:rPr lang="en-US" dirty="0"/>
              <a:t>with Image</a:t>
            </a:r>
          </a:p>
        </p:txBody>
      </p:sp>
      <p:sp>
        <p:nvSpPr>
          <p:cNvPr id="13" name="Slide Number Placeholder 5"/>
          <p:cNvSpPr>
            <a:spLocks noGrp="1"/>
          </p:cNvSpPr>
          <p:nvPr>
            <p:ph type="sldNum" sz="quarter" idx="12"/>
          </p:nvPr>
        </p:nvSpPr>
        <p:spPr>
          <a:xfrm>
            <a:off x="9163136" y="6432516"/>
            <a:ext cx="2844800" cy="365125"/>
          </a:xfrm>
        </p:spPr>
        <p:txBody>
          <a:bodyPr/>
          <a:lstStyle>
            <a:lvl1pPr>
              <a:defRPr sz="800"/>
            </a:lvl1pPr>
          </a:lstStyle>
          <a:p>
            <a:fld id="{EE2556C5-CE8C-6547-B838-EA80C61A4AF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7421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Bullete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7" name="Title 6"/>
          <p:cNvSpPr>
            <a:spLocks noGrp="1"/>
          </p:cNvSpPr>
          <p:nvPr>
            <p:ph type="title" hasCustomPrompt="1"/>
          </p:nvPr>
        </p:nvSpPr>
        <p:spPr>
          <a:xfrm>
            <a:off x="607484" y="411797"/>
            <a:ext cx="10972800" cy="1158240"/>
          </a:xfrm>
        </p:spPr>
        <p:txBody>
          <a:bodyPr/>
          <a:lstStyle>
            <a:lvl1pPr>
              <a:defRPr sz="3200" b="0" i="0" baseline="0">
                <a:solidFill>
                  <a:srgbClr val="003C71"/>
                </a:solidFill>
                <a:latin typeface="Intel Clear"/>
                <a:cs typeface="Intel Clear"/>
              </a:defRPr>
            </a:lvl1pPr>
          </a:lstStyle>
          <a:p>
            <a:r>
              <a:rPr lang="en-US" dirty="0"/>
              <a:t>28pt Intel Clear Headline</a:t>
            </a:r>
          </a:p>
        </p:txBody>
      </p:sp>
      <p:sp>
        <p:nvSpPr>
          <p:cNvPr id="9" name="Content Placeholder 8"/>
          <p:cNvSpPr>
            <a:spLocks noGrp="1"/>
          </p:cNvSpPr>
          <p:nvPr>
            <p:ph sz="quarter" idx="13" hasCustomPrompt="1"/>
          </p:nvPr>
        </p:nvSpPr>
        <p:spPr>
          <a:xfrm>
            <a:off x="607484" y="1604434"/>
            <a:ext cx="10970683" cy="4567767"/>
          </a:xfrm>
        </p:spPr>
        <p:txBody>
          <a:bodyPr/>
          <a:lstStyle>
            <a:lvl1pPr>
              <a:defRPr sz="1800">
                <a:solidFill>
                  <a:srgbClr val="0071C5"/>
                </a:solidFill>
              </a:defRPr>
            </a:lvl1pPr>
            <a:lvl2pPr>
              <a:defRPr sz="1800"/>
            </a:lvl2pPr>
            <a:lvl3pPr>
              <a:defRPr sz="1800"/>
            </a:lvl3pPr>
            <a:lvl4pPr>
              <a:defRPr sz="1600"/>
            </a:lvl4pPr>
            <a:lvl5pPr>
              <a:defRPr sz="1400"/>
            </a:lvl5pPr>
          </a:lstStyle>
          <a:p>
            <a:pPr lvl="0"/>
            <a:r>
              <a:rPr lang="en-US" dirty="0"/>
              <a:t>18pt Intel Clear body text</a:t>
            </a:r>
          </a:p>
          <a:p>
            <a:pPr lvl="1"/>
            <a:r>
              <a:rPr lang="en-US" dirty="0"/>
              <a:t>18pt Intel Clear bullet one</a:t>
            </a:r>
          </a:p>
          <a:p>
            <a:pPr lvl="2"/>
            <a:r>
              <a:rPr lang="en-US" dirty="0"/>
              <a:t>18pt Intel Clear sub-bullet</a:t>
            </a:r>
          </a:p>
          <a:p>
            <a:pPr lvl="3"/>
            <a:r>
              <a:rPr lang="en-US" dirty="0"/>
              <a:t>16pt Intel Clear fourth level</a:t>
            </a:r>
          </a:p>
          <a:p>
            <a:pPr lvl="4"/>
            <a:r>
              <a:rPr lang="en-US" dirty="0" err="1"/>
              <a:t>14pt</a:t>
            </a:r>
            <a:r>
              <a:rPr lang="en-US" dirty="0"/>
              <a:t> Intel Clear fifth level</a:t>
            </a:r>
          </a:p>
        </p:txBody>
      </p:sp>
    </p:spTree>
    <p:extLst>
      <p:ext uri="{BB962C8B-B14F-4D97-AF65-F5344CB8AC3E}">
        <p14:creationId xmlns:p14="http://schemas.microsoft.com/office/powerpoint/2010/main" val="366561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15" name="Content Placeholder 2"/>
          <p:cNvSpPr>
            <a:spLocks noGrp="1"/>
          </p:cNvSpPr>
          <p:nvPr>
            <p:ph sz="half" idx="1" hasCustomPrompt="1"/>
          </p:nvPr>
        </p:nvSpPr>
        <p:spPr>
          <a:xfrm>
            <a:off x="607485" y="1604433"/>
            <a:ext cx="5342468" cy="4567767"/>
          </a:xfrm>
        </p:spPr>
        <p:txBody>
          <a:bodyPr vert="horz" lIns="0" tIns="0" rIns="0" bIns="0" rtlCol="0">
            <a:noAutofit/>
          </a:bodyPr>
          <a:lstStyle>
            <a:lvl1pPr>
              <a:defRPr lang="en-US" sz="1800" dirty="0" smtClean="0"/>
            </a:lvl1pPr>
            <a:lvl2pPr>
              <a:defRPr lang="en-US" sz="1600"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a:t>18pt Intel Clear body text</a:t>
            </a:r>
          </a:p>
          <a:p>
            <a:pPr marR="0" lvl="1" fontAlgn="auto">
              <a:lnSpc>
                <a:spcPct val="100000"/>
              </a:lnSpc>
              <a:spcAft>
                <a:spcPts val="0"/>
              </a:spcAft>
              <a:buClrTx/>
              <a:buSzTx/>
              <a:tabLst/>
            </a:pPr>
            <a:r>
              <a:rPr lang="en-US" dirty="0"/>
              <a:t>16pt Intel Clear bullet one</a:t>
            </a:r>
          </a:p>
          <a:p>
            <a:pPr lvl="2"/>
            <a:r>
              <a:rPr lang="en-US" dirty="0" err="1"/>
              <a:t>14pt</a:t>
            </a:r>
            <a:r>
              <a:rPr lang="en-US" dirty="0"/>
              <a:t> Intel Clear third level</a:t>
            </a:r>
          </a:p>
          <a:p>
            <a:pPr lvl="3"/>
            <a:r>
              <a:rPr lang="en-US" dirty="0" err="1"/>
              <a:t>12pt</a:t>
            </a:r>
            <a:r>
              <a:rPr lang="en-US" dirty="0"/>
              <a:t> Intel Clear fourth level</a:t>
            </a:r>
          </a:p>
          <a:p>
            <a:pPr lvl="4"/>
            <a:r>
              <a:rPr lang="en-US" dirty="0" err="1"/>
              <a:t>12pt</a:t>
            </a:r>
            <a:r>
              <a:rPr lang="en-US" dirty="0"/>
              <a:t> Intel Clear fifth level</a:t>
            </a:r>
          </a:p>
        </p:txBody>
      </p:sp>
      <p:sp>
        <p:nvSpPr>
          <p:cNvPr id="8" name="Title 6"/>
          <p:cNvSpPr>
            <a:spLocks noGrp="1"/>
          </p:cNvSpPr>
          <p:nvPr>
            <p:ph type="title" hasCustomPrompt="1"/>
          </p:nvPr>
        </p:nvSpPr>
        <p:spPr>
          <a:xfrm>
            <a:off x="607484" y="411797"/>
            <a:ext cx="10972800" cy="1158240"/>
          </a:xfrm>
        </p:spPr>
        <p:txBody>
          <a:bodyPr/>
          <a:lstStyle>
            <a:lvl1pPr>
              <a:defRPr sz="2800" b="0" i="0" baseline="0">
                <a:solidFill>
                  <a:srgbClr val="003C71"/>
                </a:solidFill>
                <a:latin typeface="Intel Clear"/>
                <a:cs typeface="Intel Clear"/>
              </a:defRPr>
            </a:lvl1pPr>
          </a:lstStyle>
          <a:p>
            <a:r>
              <a:rPr lang="en-US" dirty="0"/>
              <a:t>28pt Intel Clear Headline</a:t>
            </a:r>
          </a:p>
        </p:txBody>
      </p:sp>
      <p:sp>
        <p:nvSpPr>
          <p:cNvPr id="9" name="Picture Placeholder 8"/>
          <p:cNvSpPr>
            <a:spLocks noGrp="1"/>
          </p:cNvSpPr>
          <p:nvPr>
            <p:ph type="pic" sz="quarter" idx="13"/>
          </p:nvPr>
        </p:nvSpPr>
        <p:spPr>
          <a:xfrm>
            <a:off x="6441018" y="1257907"/>
            <a:ext cx="4241497" cy="2227933"/>
          </a:xfrm>
          <a:solidFill>
            <a:schemeClr val="bg2">
              <a:lumMod val="60000"/>
              <a:lumOff val="40000"/>
            </a:schemeClr>
          </a:solidFill>
        </p:spPr>
        <p:txBody>
          <a:bodyPr/>
          <a:lstStyle>
            <a:lvl1pPr>
              <a:defRPr sz="2400">
                <a:latin typeface="Intel Clear"/>
              </a:defRPr>
            </a:lvl1pPr>
          </a:lstStyle>
          <a:p>
            <a:endParaRPr lang="en-US" sz="1467" dirty="0">
              <a:latin typeface="Arial"/>
            </a:endParaRPr>
          </a:p>
        </p:txBody>
      </p:sp>
      <p:sp>
        <p:nvSpPr>
          <p:cNvPr id="10" name="Picture Placeholder 8"/>
          <p:cNvSpPr>
            <a:spLocks noGrp="1"/>
          </p:cNvSpPr>
          <p:nvPr>
            <p:ph type="pic" sz="quarter" idx="14"/>
          </p:nvPr>
        </p:nvSpPr>
        <p:spPr>
          <a:xfrm>
            <a:off x="6441018" y="3791863"/>
            <a:ext cx="4241497" cy="2227933"/>
          </a:xfrm>
          <a:solidFill>
            <a:schemeClr val="bg2">
              <a:lumMod val="60000"/>
              <a:lumOff val="40000"/>
            </a:schemeClr>
          </a:solidFill>
        </p:spPr>
        <p:txBody>
          <a:bodyPr/>
          <a:lstStyle>
            <a:lvl1pPr>
              <a:defRPr sz="2400">
                <a:latin typeface="Intel Clear"/>
              </a:defRPr>
            </a:lvl1pPr>
          </a:lstStyle>
          <a:p>
            <a:endParaRPr lang="en-US" sz="1467" dirty="0">
              <a:latin typeface="Arial"/>
            </a:endParaRPr>
          </a:p>
        </p:txBody>
      </p:sp>
    </p:spTree>
    <p:extLst>
      <p:ext uri="{BB962C8B-B14F-4D97-AF65-F5344CB8AC3E}">
        <p14:creationId xmlns:p14="http://schemas.microsoft.com/office/powerpoint/2010/main" val="156340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with Attribu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7485" y="1604434"/>
            <a:ext cx="10970684" cy="4567767"/>
          </a:xfrm>
        </p:spPr>
        <p:txBody>
          <a:bodyPr anchor="ctr" anchorCtr="0"/>
          <a:lstStyle>
            <a:lvl1pPr marL="253994" indent="-253994">
              <a:defRPr sz="4800" b="1" baseline="0">
                <a:solidFill>
                  <a:schemeClr val="accent2"/>
                </a:solidFill>
                <a:latin typeface="+mn-lt"/>
                <a:cs typeface="Intel Clear Light" panose="020B0404020203020204" pitchFamily="34" charset="0"/>
              </a:defRPr>
            </a:lvl1pPr>
            <a:lvl2pPr marL="556670" indent="-300559">
              <a:buFont typeface="Lucida Grande"/>
              <a:buChar char="−"/>
              <a:defRPr sz="1600" baseline="0">
                <a:latin typeface="+mn-lt"/>
                <a:cs typeface="Intel Clear" panose="020B0604020203020204" pitchFamily="34" charset="0"/>
              </a:defRPr>
            </a:lvl2pPr>
            <a:lvl3pPr marL="914377" indent="-304792">
              <a:defRPr sz="1600">
                <a:latin typeface="+mn-lt"/>
              </a:defRPr>
            </a:lvl3pPr>
            <a:lvl4pPr>
              <a:defRPr sz="1467">
                <a:latin typeface="+mn-lt"/>
              </a:defRPr>
            </a:lvl4pPr>
            <a:lvl5pPr>
              <a:defRPr sz="1400">
                <a:latin typeface="+mn-lt"/>
              </a:defRPr>
            </a:lvl5pPr>
          </a:lstStyle>
          <a:p>
            <a:pPr lvl="0"/>
            <a:r>
              <a:rPr lang="en-US" dirty="0"/>
              <a:t>“36pt Intel Clear Bold Text”</a:t>
            </a:r>
          </a:p>
          <a:p>
            <a:pPr lvl="1"/>
            <a:r>
              <a:rPr lang="en-US" dirty="0" err="1"/>
              <a:t>12pt</a:t>
            </a:r>
            <a:r>
              <a:rPr lang="en-US" dirty="0"/>
              <a:t> Attribution</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7" name="Title 6"/>
          <p:cNvSpPr>
            <a:spLocks noGrp="1"/>
          </p:cNvSpPr>
          <p:nvPr>
            <p:ph type="title" hasCustomPrompt="1"/>
          </p:nvPr>
        </p:nvSpPr>
        <p:spPr>
          <a:xfrm>
            <a:off x="607484" y="411797"/>
            <a:ext cx="10972800" cy="1158240"/>
          </a:xfrm>
        </p:spPr>
        <p:txBody>
          <a:bodyPr/>
          <a:lstStyle>
            <a:lvl1pPr>
              <a:defRPr sz="2800" b="0" i="0" baseline="0">
                <a:solidFill>
                  <a:srgbClr val="003C71"/>
                </a:solidFill>
                <a:latin typeface="Intel Clear"/>
                <a:cs typeface="Intel Clear"/>
              </a:defRPr>
            </a:lvl1pPr>
          </a:lstStyle>
          <a:p>
            <a:r>
              <a:rPr lang="en-US" dirty="0"/>
              <a:t>28pt Intel Clear Headline</a:t>
            </a:r>
          </a:p>
        </p:txBody>
      </p:sp>
    </p:spTree>
    <p:extLst>
      <p:ext uri="{BB962C8B-B14F-4D97-AF65-F5344CB8AC3E}">
        <p14:creationId xmlns:p14="http://schemas.microsoft.com/office/powerpoint/2010/main" val="372820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358467"/>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dirty="0"/>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7" name="Title 6"/>
          <p:cNvSpPr>
            <a:spLocks noGrp="1"/>
          </p:cNvSpPr>
          <p:nvPr>
            <p:ph type="title" hasCustomPrompt="1"/>
          </p:nvPr>
        </p:nvSpPr>
        <p:spPr>
          <a:xfrm>
            <a:off x="607484" y="411797"/>
            <a:ext cx="10972800" cy="1158240"/>
          </a:xfrm>
        </p:spPr>
        <p:txBody>
          <a:bodyPr/>
          <a:lstStyle>
            <a:lvl1pPr>
              <a:defRPr b="0" i="0" baseline="0">
                <a:solidFill>
                  <a:srgbClr val="003C71"/>
                </a:solidFill>
                <a:latin typeface="Intel Clear"/>
                <a:cs typeface="Intel Clear"/>
              </a:defRPr>
            </a:lvl1pPr>
          </a:lstStyle>
          <a:p>
            <a:r>
              <a:rPr lang="en-US" dirty="0"/>
              <a:t>28pt Intel Clear Headline</a:t>
            </a:r>
          </a:p>
        </p:txBody>
      </p:sp>
    </p:spTree>
    <p:extLst>
      <p:ext uri="{BB962C8B-B14F-4D97-AF65-F5344CB8AC3E}">
        <p14:creationId xmlns:p14="http://schemas.microsoft.com/office/powerpoint/2010/main" val="207175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Bottom Half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3432175"/>
            <a:ext cx="12192000" cy="2926292"/>
          </a:xfrm>
          <a:solidFill>
            <a:schemeClr val="bg2">
              <a:lumMod val="60000"/>
              <a:lumOff val="40000"/>
            </a:schemeClr>
          </a:solidFill>
        </p:spPr>
        <p:txBody>
          <a:bodyPr/>
          <a:lstStyle>
            <a:lvl1pPr marL="0" marR="0" indent="0" algn="l" defTabSz="609585" rtl="0" eaLnBrk="1" fontAlgn="auto" latinLnBrk="0" hangingPunct="1">
              <a:lnSpc>
                <a:spcPct val="100000"/>
              </a:lnSpc>
              <a:spcBef>
                <a:spcPts val="1600"/>
              </a:spcBef>
              <a:spcAft>
                <a:spcPts val="0"/>
              </a:spcAft>
              <a:buClrTx/>
              <a:buSzTx/>
              <a:buFont typeface="Wingdings" panose="05000000000000000000" pitchFamily="2" charset="2"/>
              <a:buNone/>
              <a:tabLst/>
              <a:defRPr baseline="0"/>
            </a:lvl1pPr>
          </a:lstStyle>
          <a:p>
            <a:r>
              <a:rPr lang="en-US" dirty="0"/>
              <a:t>Insert photo here. Drag picture to placeholder or click icon to add.</a:t>
            </a:r>
          </a:p>
        </p:txBody>
      </p:sp>
      <p:sp>
        <p:nvSpPr>
          <p:cNvPr id="6"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18" name="Content Placeholder 2"/>
          <p:cNvSpPr>
            <a:spLocks noGrp="1"/>
          </p:cNvSpPr>
          <p:nvPr>
            <p:ph sz="half" idx="1" hasCustomPrompt="1"/>
          </p:nvPr>
        </p:nvSpPr>
        <p:spPr>
          <a:xfrm>
            <a:off x="607485" y="1604433"/>
            <a:ext cx="5342468" cy="1745720"/>
          </a:xfrm>
        </p:spPr>
        <p:txBody>
          <a:bodyPr vert="horz" lIns="0" tIns="0" rIns="0" bIns="0" rtlCol="0">
            <a:noAutofit/>
          </a:bodyPr>
          <a:lstStyle>
            <a:lvl1pPr>
              <a:defRPr lang="en-US" dirty="0" smtClean="0"/>
            </a:lvl1pPr>
            <a:lvl2pPr>
              <a:defRPr lang="en-US" dirty="0" smtClean="0"/>
            </a:lvl2pPr>
            <a:lvl3pPr>
              <a:defRPr lang="en-US" sz="1867" dirty="0" smtClean="0"/>
            </a:lvl3pPr>
            <a:lvl4pPr>
              <a:defRPr lang="en-US" sz="1600" dirty="0" smtClean="0"/>
            </a:lvl4pPr>
            <a:lvl5pPr>
              <a:defRPr lang="en-US" sz="1600" dirty="0"/>
            </a:lvl5pPr>
          </a:lstStyle>
          <a:p>
            <a:pPr marR="0" lvl="0" fontAlgn="auto">
              <a:lnSpc>
                <a:spcPct val="100000"/>
              </a:lnSpc>
              <a:buClrTx/>
              <a:buSzTx/>
              <a:tabLst/>
            </a:pPr>
            <a:r>
              <a:rPr lang="en-US" dirty="0"/>
              <a:t>18pt Intel Clear body text</a:t>
            </a:r>
          </a:p>
          <a:p>
            <a:pPr marR="0" lvl="1" fontAlgn="auto">
              <a:lnSpc>
                <a:spcPct val="100000"/>
              </a:lnSpc>
              <a:spcAft>
                <a:spcPts val="0"/>
              </a:spcAft>
              <a:buClrTx/>
              <a:buSzTx/>
              <a:tabLst/>
            </a:pPr>
            <a:r>
              <a:rPr lang="en-US" dirty="0"/>
              <a:t>16pt Intel Clear bullet one</a:t>
            </a:r>
          </a:p>
          <a:p>
            <a:pPr lvl="2"/>
            <a:r>
              <a:rPr lang="en-US" dirty="0" err="1"/>
              <a:t>14pt</a:t>
            </a:r>
            <a:r>
              <a:rPr lang="en-US" dirty="0"/>
              <a:t> Intel Clear third level</a:t>
            </a:r>
          </a:p>
          <a:p>
            <a:pPr lvl="3"/>
            <a:r>
              <a:rPr lang="en-US" dirty="0" err="1"/>
              <a:t>12pt</a:t>
            </a:r>
            <a:r>
              <a:rPr lang="en-US" dirty="0"/>
              <a:t> Intel Clear fourth level</a:t>
            </a:r>
          </a:p>
          <a:p>
            <a:pPr lvl="4"/>
            <a:r>
              <a:rPr lang="en-US" dirty="0" err="1"/>
              <a:t>12pt</a:t>
            </a:r>
            <a:r>
              <a:rPr lang="en-US" dirty="0"/>
              <a:t> Intel Clear fifth level</a:t>
            </a:r>
          </a:p>
        </p:txBody>
      </p:sp>
      <p:sp>
        <p:nvSpPr>
          <p:cNvPr id="19" name="Content Placeholder 2"/>
          <p:cNvSpPr>
            <a:spLocks noGrp="1"/>
          </p:cNvSpPr>
          <p:nvPr>
            <p:ph sz="half" idx="15" hasCustomPrompt="1"/>
          </p:nvPr>
        </p:nvSpPr>
        <p:spPr>
          <a:xfrm>
            <a:off x="6237817" y="1604433"/>
            <a:ext cx="5340352" cy="1745720"/>
          </a:xfrm>
        </p:spPr>
        <p:txBody>
          <a:bodyPr vert="horz" lIns="0" tIns="0" rIns="0" bIns="0" rtlCol="0">
            <a:noAutofit/>
          </a:bodyPr>
          <a:lstStyle>
            <a:lvl1pPr>
              <a:defRPr lang="en-US" dirty="0" smtClean="0"/>
            </a:lvl1pPr>
            <a:lvl2pPr>
              <a:defRPr lang="en-US" dirty="0" smtClean="0"/>
            </a:lvl2pPr>
            <a:lvl3pPr>
              <a:defRPr lang="en-US" sz="1867" dirty="0" smtClean="0"/>
            </a:lvl3pPr>
            <a:lvl4pPr>
              <a:defRPr lang="en-US" sz="1600" dirty="0" smtClean="0"/>
            </a:lvl4pPr>
            <a:lvl5pPr>
              <a:defRPr lang="en-US" sz="1600" dirty="0"/>
            </a:lvl5pPr>
          </a:lstStyle>
          <a:p>
            <a:pPr marR="0" lvl="0" fontAlgn="auto">
              <a:lnSpc>
                <a:spcPct val="100000"/>
              </a:lnSpc>
              <a:buClrTx/>
              <a:buSzTx/>
              <a:tabLst/>
            </a:pPr>
            <a:r>
              <a:rPr lang="en-US" dirty="0"/>
              <a:t>18pt Intel Clear body text</a:t>
            </a:r>
          </a:p>
          <a:p>
            <a:pPr marR="0" lvl="1" fontAlgn="auto">
              <a:lnSpc>
                <a:spcPct val="100000"/>
              </a:lnSpc>
              <a:spcAft>
                <a:spcPts val="0"/>
              </a:spcAft>
              <a:buClrTx/>
              <a:buSzTx/>
              <a:tabLst/>
            </a:pPr>
            <a:r>
              <a:rPr lang="en-US" dirty="0"/>
              <a:t>16pt Intel Clear bullet one</a:t>
            </a:r>
          </a:p>
          <a:p>
            <a:pPr lvl="2"/>
            <a:r>
              <a:rPr lang="en-US" dirty="0" err="1"/>
              <a:t>14pt</a:t>
            </a:r>
            <a:r>
              <a:rPr lang="en-US" dirty="0"/>
              <a:t> Intel Clear third level</a:t>
            </a:r>
          </a:p>
          <a:p>
            <a:pPr lvl="3"/>
            <a:r>
              <a:rPr lang="en-US" dirty="0" err="1"/>
              <a:t>12pt</a:t>
            </a:r>
            <a:r>
              <a:rPr lang="en-US" dirty="0"/>
              <a:t> Intel Clear fourth level</a:t>
            </a:r>
          </a:p>
          <a:p>
            <a:pPr lvl="4"/>
            <a:r>
              <a:rPr lang="en-US" dirty="0" err="1"/>
              <a:t>12pt</a:t>
            </a:r>
            <a:r>
              <a:rPr lang="en-US" dirty="0"/>
              <a:t> Intel Clear fifth level</a:t>
            </a:r>
          </a:p>
        </p:txBody>
      </p:sp>
      <p:sp>
        <p:nvSpPr>
          <p:cNvPr id="3" name="TextBox 2"/>
          <p:cNvSpPr txBox="1"/>
          <p:nvPr userDrawn="1"/>
        </p:nvSpPr>
        <p:spPr>
          <a:xfrm>
            <a:off x="1345983" y="6634394"/>
            <a:ext cx="184731" cy="297454"/>
          </a:xfrm>
          <a:prstGeom prst="rect">
            <a:avLst/>
          </a:prstGeom>
          <a:noFill/>
        </p:spPr>
        <p:txBody>
          <a:bodyPr wrap="none" rtlCol="0">
            <a:spAutoFit/>
          </a:bodyPr>
          <a:lstStyle/>
          <a:p>
            <a:pPr defTabSz="609585"/>
            <a:endParaRPr lang="en-US" sz="1333" dirty="0">
              <a:solidFill>
                <a:srgbClr val="003C71"/>
              </a:solidFill>
              <a:cs typeface="Intel Clear"/>
            </a:endParaRPr>
          </a:p>
        </p:txBody>
      </p:sp>
      <p:sp>
        <p:nvSpPr>
          <p:cNvPr id="10" name="Title 6"/>
          <p:cNvSpPr>
            <a:spLocks noGrp="1"/>
          </p:cNvSpPr>
          <p:nvPr>
            <p:ph type="title" hasCustomPrompt="1"/>
          </p:nvPr>
        </p:nvSpPr>
        <p:spPr>
          <a:xfrm>
            <a:off x="607484" y="411797"/>
            <a:ext cx="10972800" cy="1158240"/>
          </a:xfrm>
        </p:spPr>
        <p:txBody>
          <a:bodyPr/>
          <a:lstStyle>
            <a:lvl1pPr>
              <a:defRPr b="0" i="0" baseline="0">
                <a:solidFill>
                  <a:srgbClr val="003C71"/>
                </a:solidFill>
                <a:latin typeface="Intel Clear"/>
                <a:cs typeface="Intel Clear"/>
              </a:defRPr>
            </a:lvl1pPr>
          </a:lstStyle>
          <a:p>
            <a:r>
              <a:rPr lang="en-US" dirty="0"/>
              <a:t>28pt Intel Clear Headline</a:t>
            </a:r>
          </a:p>
        </p:txBody>
      </p:sp>
    </p:spTree>
    <p:extLst>
      <p:ext uri="{BB962C8B-B14F-4D97-AF65-F5344CB8AC3E}">
        <p14:creationId xmlns:p14="http://schemas.microsoft.com/office/powerpoint/2010/main" val="198995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Right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6237818" y="2"/>
            <a:ext cx="5954183" cy="6358465"/>
          </a:xfrm>
          <a:solidFill>
            <a:schemeClr val="bg2">
              <a:lumMod val="60000"/>
              <a:lumOff val="40000"/>
            </a:schemeClr>
          </a:solidFill>
        </p:spPr>
        <p:txBody>
          <a:bodyPr/>
          <a:lstStyle>
            <a:lvl1pPr>
              <a:defRPr baseline="0"/>
            </a:lvl1pPr>
          </a:lstStyle>
          <a:p>
            <a:r>
              <a:rPr lang="en-US" dirty="0"/>
              <a:t>Insert photo here. Drag picture to placeholder or click icon to add.</a:t>
            </a:r>
          </a:p>
        </p:txBody>
      </p:sp>
      <p:sp>
        <p:nvSpPr>
          <p:cNvPr id="2" name="Title 1"/>
          <p:cNvSpPr>
            <a:spLocks noGrp="1"/>
          </p:cNvSpPr>
          <p:nvPr>
            <p:ph type="title" hasCustomPrompt="1"/>
          </p:nvPr>
        </p:nvSpPr>
        <p:spPr>
          <a:xfrm>
            <a:off x="607484" y="411797"/>
            <a:ext cx="5342467" cy="1158240"/>
          </a:xfrm>
        </p:spPr>
        <p:txBody>
          <a:bodyPr>
            <a:noAutofit/>
          </a:bodyPr>
          <a:lstStyle>
            <a:lvl1pPr>
              <a:defRPr sz="2800" b="0" i="0" baseline="0">
                <a:latin typeface="Intel Clear"/>
                <a:cs typeface="Intel Clear"/>
              </a:defRPr>
            </a:lvl1pPr>
          </a:lstStyle>
          <a:p>
            <a:r>
              <a:rPr lang="en-US" dirty="0"/>
              <a:t>28pt Intel Clear Headline</a:t>
            </a:r>
          </a:p>
        </p:txBody>
      </p:sp>
      <p:sp>
        <p:nvSpPr>
          <p:cNvPr id="6"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sz="half" idx="1" hasCustomPrompt="1"/>
          </p:nvPr>
        </p:nvSpPr>
        <p:spPr>
          <a:xfrm>
            <a:off x="607485" y="1766992"/>
            <a:ext cx="5342467" cy="4567767"/>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a:t>18pt Intel Clear body text</a:t>
            </a:r>
          </a:p>
          <a:p>
            <a:pPr marR="0" lvl="1" fontAlgn="auto">
              <a:lnSpc>
                <a:spcPct val="100000"/>
              </a:lnSpc>
              <a:spcAft>
                <a:spcPts val="0"/>
              </a:spcAft>
              <a:buClrTx/>
              <a:buSzTx/>
              <a:tabLst/>
            </a:pPr>
            <a:r>
              <a:rPr lang="en-US" dirty="0"/>
              <a:t>16pt Intel Clear bullet one</a:t>
            </a:r>
          </a:p>
          <a:p>
            <a:pPr lvl="2"/>
            <a:r>
              <a:rPr lang="en-US" dirty="0" err="1"/>
              <a:t>14pt</a:t>
            </a:r>
            <a:r>
              <a:rPr lang="en-US" dirty="0"/>
              <a:t> Intel Clear third level</a:t>
            </a:r>
          </a:p>
          <a:p>
            <a:pPr lvl="3"/>
            <a:r>
              <a:rPr lang="en-US" dirty="0" err="1"/>
              <a:t>12pt</a:t>
            </a:r>
            <a:r>
              <a:rPr lang="en-US" dirty="0"/>
              <a:t> Intel Clear fourth level</a:t>
            </a:r>
          </a:p>
          <a:p>
            <a:pPr lvl="4"/>
            <a:r>
              <a:rPr lang="en-US" dirty="0" err="1"/>
              <a:t>12pt</a:t>
            </a:r>
            <a:r>
              <a:rPr lang="en-US" dirty="0"/>
              <a:t> Intel Clear fifth level</a:t>
            </a:r>
          </a:p>
        </p:txBody>
      </p:sp>
    </p:spTree>
    <p:extLst>
      <p:ext uri="{BB962C8B-B14F-4D97-AF65-F5344CB8AC3E}">
        <p14:creationId xmlns:p14="http://schemas.microsoft.com/office/powerpoint/2010/main" val="30592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4FE69-45E5-4348-A61A-F3C467C6726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CE28A5C-2DB8-4077-995D-7CFB5585BB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75DAA2A-85D6-40B9-BAC9-0736632F024E}"/>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A7EE7608-752B-4914-AB6E-D7A4632D1A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500E2E-53B8-4DB9-860A-442375B43C5D}"/>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685669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Section Brea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EE2556C5-CE8C-6547-B838-EA80C61A4AF7}" type="slidenum">
              <a:rPr lang="en-US" smtClean="0">
                <a:solidFill>
                  <a:prstClr val="white"/>
                </a:solidFill>
              </a:rPr>
              <a:pPr/>
              <a:t>‹#›</a:t>
            </a:fld>
            <a:endParaRPr lang="en-US" dirty="0">
              <a:solidFill>
                <a:prstClr val="white"/>
              </a:solidFill>
            </a:endParaRPr>
          </a:p>
        </p:txBody>
      </p:sp>
      <p:sp>
        <p:nvSpPr>
          <p:cNvPr id="5" name="Subtitle 2"/>
          <p:cNvSpPr>
            <a:spLocks noGrp="1"/>
          </p:cNvSpPr>
          <p:nvPr>
            <p:ph type="subTitle" idx="4294967295"/>
          </p:nvPr>
        </p:nvSpPr>
        <p:spPr>
          <a:xfrm>
            <a:off x="607484" y="4615011"/>
            <a:ext cx="8440283" cy="1233813"/>
          </a:xfrm>
        </p:spPr>
        <p:txBody>
          <a:bodyPr lIns="0" rIns="0">
            <a:noAutofit/>
          </a:bodyPr>
          <a:lstStyle>
            <a:lvl1pPr marL="0" indent="0" algn="l">
              <a:spcBef>
                <a:spcPts val="1200"/>
              </a:spcBef>
              <a:buNone/>
              <a:defRPr sz="1600" b="0" i="0" baseline="0">
                <a:solidFill>
                  <a:srgbClr val="F3D54E"/>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7" name="Title 1"/>
          <p:cNvSpPr>
            <a:spLocks noGrp="1"/>
          </p:cNvSpPr>
          <p:nvPr>
            <p:ph type="ctrTitle" hasCustomPrompt="1"/>
          </p:nvPr>
        </p:nvSpPr>
        <p:spPr>
          <a:xfrm>
            <a:off x="584449" y="3220123"/>
            <a:ext cx="10950515" cy="1336387"/>
          </a:xfrm>
        </p:spPr>
        <p:txBody>
          <a:bodyPr lIns="0" rIns="0" anchor="b" anchorCtr="0">
            <a:noAutofit/>
          </a:bodyPr>
          <a:lstStyle>
            <a:lvl1pPr>
              <a:lnSpc>
                <a:spcPct val="100000"/>
              </a:lnSpc>
              <a:spcBef>
                <a:spcPts val="0"/>
              </a:spcBef>
              <a:spcAft>
                <a:spcPts val="800"/>
              </a:spcAft>
              <a:defRPr sz="4000" b="0" spc="133" baseline="0">
                <a:solidFill>
                  <a:srgbClr val="003C71"/>
                </a:solidFill>
                <a:latin typeface="Intel Clear"/>
                <a:cs typeface="Intel Clear"/>
              </a:defRPr>
            </a:lvl1pPr>
          </a:lstStyle>
          <a:p>
            <a:pPr>
              <a:lnSpc>
                <a:spcPct val="100000"/>
              </a:lnSpc>
              <a:spcBef>
                <a:spcPts val="0"/>
              </a:spcBef>
              <a:spcAft>
                <a:spcPts val="600"/>
              </a:spcAft>
            </a:pPr>
            <a:r>
              <a:rPr lang="en-US" spc="0" dirty="0"/>
              <a:t>40pt Intel Clear</a:t>
            </a:r>
            <a:br>
              <a:rPr lang="en-US" spc="0" dirty="0"/>
            </a:br>
            <a:r>
              <a:rPr lang="en-US" spc="0" dirty="0"/>
              <a:t>White Section Break</a:t>
            </a:r>
          </a:p>
        </p:txBody>
      </p:sp>
    </p:spTree>
    <p:extLst>
      <p:ext uri="{BB962C8B-B14F-4D97-AF65-F5344CB8AC3E}">
        <p14:creationId xmlns:p14="http://schemas.microsoft.com/office/powerpoint/2010/main" val="223188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7484" y="2979843"/>
            <a:ext cx="10363200" cy="1500187"/>
          </a:xfrm>
        </p:spPr>
        <p:txBody>
          <a:bodyPr anchor="t" anchorCtr="0">
            <a:noAutofit/>
          </a:bodyPr>
          <a:lstStyle>
            <a:lvl1pPr marL="0" indent="0">
              <a:buNone/>
              <a:defRPr sz="5333" b="0" baseline="0">
                <a:solidFill>
                  <a:schemeClr val="accent2"/>
                </a:solidFill>
                <a:latin typeface="Intel Clear Light" panose="020B0404020203020204" pitchFamily="34" charset="0"/>
                <a:ea typeface="Intel Clear Light" panose="020B0404020203020204" pitchFamily="34" charset="0"/>
                <a:cs typeface="Intel Clear Light" panose="020B0404020203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dirty="0"/>
              <a:t>40pt Intel Clear Light Body.</a:t>
            </a:r>
            <a:br>
              <a:rPr lang="en-US" dirty="0"/>
            </a:br>
            <a:r>
              <a:rPr lang="en-US" dirty="0"/>
              <a:t>For content that is not a section, but has a big idea in text onl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E2556C5-CE8C-6547-B838-EA80C61A4AF7}" type="slidenum">
              <a:rPr lang="en-US" smtClean="0">
                <a:solidFill>
                  <a:prstClr val="white"/>
                </a:solidFill>
              </a:rPr>
              <a:pPr/>
              <a:t>‹#›</a:t>
            </a:fld>
            <a:endParaRPr lang="en-US" dirty="0">
              <a:solidFill>
                <a:prstClr val="white"/>
              </a:solidFill>
            </a:endParaRPr>
          </a:p>
        </p:txBody>
      </p:sp>
      <p:sp>
        <p:nvSpPr>
          <p:cNvPr id="5" name="Title 1"/>
          <p:cNvSpPr>
            <a:spLocks noGrp="1"/>
          </p:cNvSpPr>
          <p:nvPr>
            <p:ph type="title"/>
          </p:nvPr>
        </p:nvSpPr>
        <p:spPr>
          <a:xfrm>
            <a:off x="607484" y="1469059"/>
            <a:ext cx="10363200" cy="1362075"/>
          </a:xfrm>
        </p:spPr>
        <p:txBody>
          <a:bodyPr anchor="b" anchorCtr="0">
            <a:noAutofit/>
          </a:bodyPr>
          <a:lstStyle>
            <a:lvl1pPr algn="l">
              <a:lnSpc>
                <a:spcPct val="80000"/>
              </a:lnSpc>
              <a:defRPr sz="5333" b="0" cap="none" spc="0" baseline="0">
                <a:solidFill>
                  <a:srgbClr val="003C7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a:t>40pt Intel Clear Heading</a:t>
            </a:r>
          </a:p>
        </p:txBody>
      </p:sp>
    </p:spTree>
    <p:extLst>
      <p:ext uri="{BB962C8B-B14F-4D97-AF65-F5344CB8AC3E}">
        <p14:creationId xmlns:p14="http://schemas.microsoft.com/office/powerpoint/2010/main" val="375972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ue Section Break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2"/>
            <a:ext cx="12192000" cy="3432175"/>
          </a:xfrm>
          <a:solidFill>
            <a:schemeClr val="bg2">
              <a:lumMod val="60000"/>
              <a:lumOff val="40000"/>
            </a:schemeClr>
          </a:solidFill>
        </p:spPr>
        <p:txBody>
          <a:bodyPr/>
          <a:lstStyle>
            <a:lvl1pPr>
              <a:defRPr baseline="0">
                <a:solidFill>
                  <a:srgbClr val="0071C5"/>
                </a:solidFill>
              </a:defRPr>
            </a:lvl1pPr>
          </a:lstStyle>
          <a:p>
            <a:r>
              <a:rPr lang="en-US" dirty="0"/>
              <a:t>Insert photo here. Drag picture to placeholder or click icon to add.</a:t>
            </a:r>
          </a:p>
        </p:txBody>
      </p:sp>
      <p:sp>
        <p:nvSpPr>
          <p:cNvPr id="7" name="Text Placeholder 2"/>
          <p:cNvSpPr>
            <a:spLocks noGrp="1"/>
          </p:cNvSpPr>
          <p:nvPr>
            <p:ph type="body" idx="1" hasCustomPrompt="1"/>
          </p:nvPr>
        </p:nvSpPr>
        <p:spPr>
          <a:xfrm>
            <a:off x="607484" y="4465049"/>
            <a:ext cx="10363200" cy="1500187"/>
          </a:xfrm>
        </p:spPr>
        <p:txBody>
          <a:bodyPr anchor="t" anchorCtr="0">
            <a:noAutofit/>
          </a:bodyPr>
          <a:lstStyle>
            <a:lvl1pPr marL="0" indent="0">
              <a:buNone/>
              <a:defRPr sz="2133" b="0" baseline="0">
                <a:solidFill>
                  <a:srgbClr val="F3D54E"/>
                </a:solidFill>
                <a:latin typeface="+mn-lt"/>
                <a:cs typeface="Intel Clear" panose="020B0604020203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r>
              <a:rPr lang="en-US" dirty="0"/>
              <a:t>16pt Intel Clear Subhead</a:t>
            </a:r>
          </a:p>
        </p:txBody>
      </p:sp>
      <p:sp>
        <p:nvSpPr>
          <p:cNvPr id="10" name="Title 1"/>
          <p:cNvSpPr>
            <a:spLocks noGrp="1"/>
          </p:cNvSpPr>
          <p:nvPr>
            <p:ph type="title" hasCustomPrompt="1"/>
          </p:nvPr>
        </p:nvSpPr>
        <p:spPr>
          <a:xfrm>
            <a:off x="596195" y="2960992"/>
            <a:ext cx="11595805" cy="1362075"/>
          </a:xfrm>
        </p:spPr>
        <p:txBody>
          <a:bodyPr anchor="b" anchorCtr="0">
            <a:noAutofit/>
          </a:bodyPr>
          <a:lstStyle>
            <a:lvl1pPr algn="l">
              <a:lnSpc>
                <a:spcPts val="7333"/>
              </a:lnSpc>
              <a:spcBef>
                <a:spcPts val="3200"/>
              </a:spcBef>
              <a:defRPr sz="5333" b="0" cap="none" spc="0" baseline="0">
                <a:solidFill>
                  <a:schemeClr val="bg1"/>
                </a:solidFill>
                <a:latin typeface="Intel Clear"/>
                <a:cs typeface="Intel Clear"/>
              </a:defRPr>
            </a:lvl1pPr>
          </a:lstStyle>
          <a:p>
            <a:r>
              <a:rPr lang="en-US" dirty="0"/>
              <a:t>40pt Intel Clear Blue Section Break</a:t>
            </a:r>
          </a:p>
        </p:txBody>
      </p:sp>
      <p:sp>
        <p:nvSpPr>
          <p:cNvPr id="9"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2117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6" name="Title 6"/>
          <p:cNvSpPr>
            <a:spLocks noGrp="1"/>
          </p:cNvSpPr>
          <p:nvPr>
            <p:ph type="title" hasCustomPrompt="1"/>
          </p:nvPr>
        </p:nvSpPr>
        <p:spPr>
          <a:xfrm>
            <a:off x="607484" y="411797"/>
            <a:ext cx="10972800" cy="1158240"/>
          </a:xfrm>
        </p:spPr>
        <p:txBody>
          <a:bodyPr/>
          <a:lstStyle>
            <a:lvl1pPr>
              <a:defRPr b="0" i="0" baseline="0">
                <a:solidFill>
                  <a:srgbClr val="003C71"/>
                </a:solidFill>
                <a:latin typeface="Intel Clear"/>
                <a:cs typeface="Intel Clear"/>
              </a:defRPr>
            </a:lvl1pPr>
          </a:lstStyle>
          <a:p>
            <a:r>
              <a:rPr lang="en-US" dirty="0"/>
              <a:t>28pt Intel Clear Headline</a:t>
            </a:r>
          </a:p>
        </p:txBody>
      </p:sp>
    </p:spTree>
    <p:extLst>
      <p:ext uri="{BB962C8B-B14F-4D97-AF65-F5344CB8AC3E}">
        <p14:creationId xmlns:p14="http://schemas.microsoft.com/office/powerpoint/2010/main" val="364363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E2556C5-CE8C-6547-B838-EA80C61A4AF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125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 dark gradient">
    <p:bg>
      <p:bgPr>
        <a:gradFill>
          <a:gsLst>
            <a:gs pos="19000">
              <a:schemeClr val="bg2"/>
            </a:gs>
            <a:gs pos="100000">
              <a:schemeClr val="bg2">
                <a:lumMod val="30000"/>
              </a:schemeClr>
            </a:gs>
            <a:gs pos="0">
              <a:schemeClr val="bg2"/>
            </a:gs>
          </a:gsLst>
          <a:path path="circle">
            <a:fillToRect l="50000" t="50000" r="50000" b="50000"/>
          </a:path>
        </a:gra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7566" y="1"/>
            <a:ext cx="12176869" cy="640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userDrawn="1">
            <p:ph type="title" hasCustomPrompt="1"/>
          </p:nvPr>
        </p:nvSpPr>
        <p:spPr/>
        <p:txBody>
          <a:bodyPr/>
          <a:lstStyle>
            <a:lvl1pPr>
              <a:defRPr>
                <a:solidFill>
                  <a:schemeClr val="tx1">
                    <a:alpha val="90000"/>
                  </a:schemeClr>
                </a:solidFill>
              </a:defRPr>
            </a:lvl1pPr>
          </a:lstStyle>
          <a:p>
            <a:r>
              <a:rPr lang="en-US" dirty="0"/>
              <a:t>Click to edit title</a:t>
            </a:r>
          </a:p>
        </p:txBody>
      </p:sp>
      <p:sp>
        <p:nvSpPr>
          <p:cNvPr id="3" name="Content Placeholder 2"/>
          <p:cNvSpPr>
            <a:spLocks noGrp="1"/>
          </p:cNvSpPr>
          <p:nvPr userDrawn="1">
            <p:ph idx="1" hasCustomPrompt="1"/>
          </p:nvPr>
        </p:nvSpPr>
        <p:spPr>
          <a:xfrm>
            <a:off x="471950" y="1558456"/>
            <a:ext cx="11248101" cy="4284985"/>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userDrawn="1">
            <p:ph type="body" sz="quarter" idx="13" hasCustomPrompt="1"/>
          </p:nvPr>
        </p:nvSpPr>
        <p:spPr>
          <a:xfrm>
            <a:off x="471950" y="6185100"/>
            <a:ext cx="11248101" cy="222240"/>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94" indent="-152396">
              <a:defRPr sz="1200"/>
            </a:lvl2pPr>
            <a:lvl3pPr marL="457189" indent="-152396">
              <a:defRPr sz="1200"/>
            </a:lvl3pPr>
            <a:lvl4pPr marL="685783" indent="-152396">
              <a:defRPr sz="1200"/>
            </a:lvl4pPr>
            <a:lvl5pPr marL="914377" indent="-152396">
              <a:defRPr sz="1200"/>
            </a:lvl5pPr>
          </a:lstStyle>
          <a:p>
            <a:pPr lvl="0"/>
            <a:r>
              <a:rPr lang="en-US" dirty="0"/>
              <a:t>Click to edit footnote</a:t>
            </a:r>
          </a:p>
        </p:txBody>
      </p:sp>
      <p:sp>
        <p:nvSpPr>
          <p:cNvPr id="4" name="Slide Number Placeholder 3"/>
          <p:cNvSpPr>
            <a:spLocks noGrp="1"/>
          </p:cNvSpPr>
          <p:nvPr userDrawn="1">
            <p:ph type="sldNum" sz="quarter" idx="14"/>
          </p:nvPr>
        </p:nvSpPr>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Tree>
    <p:extLst>
      <p:ext uri="{BB962C8B-B14F-4D97-AF65-F5344CB8AC3E}">
        <p14:creationId xmlns:p14="http://schemas.microsoft.com/office/powerpoint/2010/main" val="2046821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 dark gradient">
    <p:bg>
      <p:bgPr>
        <a:gradFill>
          <a:gsLst>
            <a:gs pos="19000">
              <a:schemeClr val="bg2"/>
            </a:gs>
            <a:gs pos="100000">
              <a:schemeClr val="bg2">
                <a:lumMod val="30000"/>
              </a:schemeClr>
            </a:gs>
            <a:gs pos="0">
              <a:schemeClr val="bg2"/>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
        <p:nvSpPr>
          <p:cNvPr id="9" name="Text Placeholder 7"/>
          <p:cNvSpPr>
            <a:spLocks noGrp="1"/>
          </p:cNvSpPr>
          <p:nvPr>
            <p:ph type="body" sz="quarter" idx="13" hasCustomPrompt="1"/>
          </p:nvPr>
        </p:nvSpPr>
        <p:spPr>
          <a:xfrm>
            <a:off x="471951"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9" indent="-152392">
              <a:defRPr sz="1200"/>
            </a:lvl2pPr>
            <a:lvl3pPr marL="457178" indent="-152392">
              <a:defRPr sz="1200"/>
            </a:lvl3pPr>
            <a:lvl4pPr marL="685766" indent="-152392">
              <a:defRPr sz="1200"/>
            </a:lvl4pPr>
            <a:lvl5pPr marL="914354" indent="-152392">
              <a:defRPr sz="1200"/>
            </a:lvl5pPr>
          </a:lstStyle>
          <a:p>
            <a:pPr lvl="0"/>
            <a:r>
              <a:rPr lang="en-US" dirty="0"/>
              <a:t>Click to edit footnote</a:t>
            </a:r>
          </a:p>
        </p:txBody>
      </p:sp>
      <p:sp>
        <p:nvSpPr>
          <p:cNvPr id="3" name="Slide Number Placeholder 2"/>
          <p:cNvSpPr>
            <a:spLocks noGrp="1"/>
          </p:cNvSpPr>
          <p:nvPr>
            <p:ph type="sldNum" sz="quarter" idx="14"/>
          </p:nvPr>
        </p:nvSpPr>
        <p:spPr>
          <a:xfrm>
            <a:off x="11797793" y="6553185"/>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Tree>
    <p:extLst>
      <p:ext uri="{BB962C8B-B14F-4D97-AF65-F5344CB8AC3E}">
        <p14:creationId xmlns:p14="http://schemas.microsoft.com/office/powerpoint/2010/main" val="437828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Large Bullet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627909" y="6422184"/>
            <a:ext cx="380027" cy="365125"/>
          </a:xfrm>
          <a:prstGeom prst="rect">
            <a:avLst/>
          </a:prstGeom>
        </p:spPr>
        <p:txBody>
          <a:bodyPr/>
          <a:lstStyle/>
          <a:p>
            <a:fld id="{EE2556C5-CE8C-6547-B838-EA80C61A4AF7}" type="slidenum">
              <a:rPr lang="en-US" smtClean="0">
                <a:solidFill>
                  <a:prstClr val="white"/>
                </a:solidFill>
              </a:rPr>
              <a:pPr/>
              <a:t>‹#›</a:t>
            </a:fld>
            <a:endParaRPr lang="en-US" dirty="0">
              <a:solidFill>
                <a:prstClr val="white"/>
              </a:solidFill>
            </a:endParaRPr>
          </a:p>
        </p:txBody>
      </p:sp>
      <p:sp>
        <p:nvSpPr>
          <p:cNvPr id="7" name="Title 6"/>
          <p:cNvSpPr>
            <a:spLocks noGrp="1"/>
          </p:cNvSpPr>
          <p:nvPr>
            <p:ph type="title" hasCustomPrompt="1"/>
          </p:nvPr>
        </p:nvSpPr>
        <p:spPr>
          <a:xfrm>
            <a:off x="607484" y="411797"/>
            <a:ext cx="10972800" cy="1158240"/>
          </a:xfrm>
        </p:spPr>
        <p:txBody>
          <a:bodyPr/>
          <a:lstStyle>
            <a:lvl1pPr>
              <a:defRPr>
                <a:latin typeface="Intel Clear Light" panose="020B0404020203020204" pitchFamily="34" charset="0"/>
              </a:defRPr>
            </a:lvl1pPr>
          </a:lstStyle>
          <a:p>
            <a:r>
              <a:rPr lang="en-US" dirty="0" err="1"/>
              <a:t>28pt</a:t>
            </a:r>
            <a:r>
              <a:rPr lang="en-US" dirty="0"/>
              <a:t> Intel Clear Light Headline</a:t>
            </a:r>
          </a:p>
        </p:txBody>
      </p:sp>
      <p:sp>
        <p:nvSpPr>
          <p:cNvPr id="9" name="Content Placeholder 8"/>
          <p:cNvSpPr>
            <a:spLocks noGrp="1"/>
          </p:cNvSpPr>
          <p:nvPr>
            <p:ph sz="quarter" idx="13" hasCustomPrompt="1"/>
          </p:nvPr>
        </p:nvSpPr>
        <p:spPr>
          <a:xfrm>
            <a:off x="607484" y="1604434"/>
            <a:ext cx="10970683" cy="4567767"/>
          </a:xfrm>
        </p:spPr>
        <p:txBody>
          <a:bodyPr/>
          <a:lstStyle>
            <a:lvl1pPr>
              <a:defRPr>
                <a:latin typeface="Intel Clear Light" panose="020B0404020203020204" pitchFamily="34" charset="0"/>
              </a:defRPr>
            </a:lvl1pPr>
            <a:lvl2pPr>
              <a:defRPr sz="2400">
                <a:latin typeface="Intel Clear Light" panose="020B0404020203020204" pitchFamily="34" charset="0"/>
              </a:defRPr>
            </a:lvl2pPr>
            <a:lvl3pPr>
              <a:defRPr sz="2400">
                <a:latin typeface="Intel Clear Light" panose="020B0404020203020204" pitchFamily="34" charset="0"/>
              </a:defRPr>
            </a:lvl3pPr>
            <a:lvl4pPr>
              <a:defRPr sz="2133">
                <a:latin typeface="Intel Clear Light" panose="020B0404020203020204" pitchFamily="34" charset="0"/>
              </a:defRPr>
            </a:lvl4pPr>
            <a:lvl5pPr>
              <a:defRPr>
                <a:latin typeface="Intel Clear Light" panose="020B0404020203020204" pitchFamily="34" charset="0"/>
              </a:defRPr>
            </a:lvl5pPr>
          </a:lstStyle>
          <a:p>
            <a:pPr lvl="0"/>
            <a:r>
              <a:rPr lang="en-US" dirty="0"/>
              <a:t>18pt Intel Clear body text</a:t>
            </a:r>
          </a:p>
          <a:p>
            <a:pPr lvl="1"/>
            <a:r>
              <a:rPr lang="en-US" dirty="0"/>
              <a:t>18pt Intel Clear bullet one</a:t>
            </a:r>
          </a:p>
          <a:p>
            <a:pPr lvl="2"/>
            <a:r>
              <a:rPr lang="en-US" dirty="0"/>
              <a:t>18pt Intel Clear sub-bullet</a:t>
            </a:r>
          </a:p>
          <a:p>
            <a:pPr lvl="3"/>
            <a:r>
              <a:rPr lang="en-US" dirty="0"/>
              <a:t>16pt Intel Clear fourth level</a:t>
            </a:r>
          </a:p>
          <a:p>
            <a:pPr lvl="4"/>
            <a:r>
              <a:rPr lang="en-US" dirty="0" err="1"/>
              <a:t>14pt</a:t>
            </a:r>
            <a:r>
              <a:rPr lang="en-US" dirty="0"/>
              <a:t> Intel Clear fifth level</a:t>
            </a:r>
          </a:p>
        </p:txBody>
      </p:sp>
    </p:spTree>
    <p:extLst>
      <p:ext uri="{BB962C8B-B14F-4D97-AF65-F5344CB8AC3E}">
        <p14:creationId xmlns:p14="http://schemas.microsoft.com/office/powerpoint/2010/main" val="85084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Text Content - dark gradient">
    <p:bg>
      <p:bgPr>
        <a:gradFill>
          <a:gsLst>
            <a:gs pos="19000">
              <a:schemeClr val="bg2"/>
            </a:gs>
            <a:gs pos="100000">
              <a:schemeClr val="bg2">
                <a:lumMod val="30000"/>
              </a:schemeClr>
            </a:gs>
            <a:gs pos="0">
              <a:schemeClr val="bg2"/>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
        <p:nvSpPr>
          <p:cNvPr id="9" name="Text Placeholder 7"/>
          <p:cNvSpPr>
            <a:spLocks noGrp="1"/>
          </p:cNvSpPr>
          <p:nvPr>
            <p:ph type="body" sz="quarter" idx="13" hasCustomPrompt="1"/>
          </p:nvPr>
        </p:nvSpPr>
        <p:spPr>
          <a:xfrm>
            <a:off x="471951"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9" indent="-152392">
              <a:defRPr sz="1200"/>
            </a:lvl2pPr>
            <a:lvl3pPr marL="457178" indent="-152392">
              <a:defRPr sz="1200"/>
            </a:lvl3pPr>
            <a:lvl4pPr marL="685766" indent="-152392">
              <a:defRPr sz="1200"/>
            </a:lvl4pPr>
            <a:lvl5pPr marL="914354" indent="-152392">
              <a:defRPr sz="1200"/>
            </a:lvl5pPr>
          </a:lstStyle>
          <a:p>
            <a:pPr lvl="0"/>
            <a:r>
              <a:rPr lang="en-US" dirty="0"/>
              <a:t>Click to edit footnote</a:t>
            </a:r>
          </a:p>
        </p:txBody>
      </p:sp>
      <p:sp>
        <p:nvSpPr>
          <p:cNvPr id="3" name="Slide Number Placeholder 2"/>
          <p:cNvSpPr>
            <a:spLocks noGrp="1"/>
          </p:cNvSpPr>
          <p:nvPr>
            <p:ph type="sldNum" sz="quarter" idx="14"/>
          </p:nvPr>
        </p:nvSpPr>
        <p:spPr>
          <a:xfrm>
            <a:off x="11797793" y="6553185"/>
            <a:ext cx="170987" cy="164148"/>
          </a:xfrm>
          <a:prstGeom prst="rect">
            <a:avLst/>
          </a:prstGeom>
        </p:spPr>
        <p:txBody>
          <a:bodyPr/>
          <a:lstStyle/>
          <a:p>
            <a:pPr eaLnBrk="0" fontAlgn="base" hangingPunct="0">
              <a:spcBef>
                <a:spcPct val="50000"/>
              </a:spcBef>
              <a:spcAft>
                <a:spcPct val="0"/>
              </a:spcAft>
            </a:pPr>
            <a:fld id="{FD44707B-D922-47D5-BD24-D96E91B70543}" type="slidenum">
              <a:rPr>
                <a:solidFill>
                  <a:prstClr val="white"/>
                </a:solidFill>
              </a:rPr>
              <a:pPr eaLnBrk="0" fontAlgn="base" hangingPunct="0">
                <a:spcBef>
                  <a:spcPct val="50000"/>
                </a:spcBef>
                <a:spcAft>
                  <a:spcPct val="0"/>
                </a:spcAft>
              </a:pPr>
              <a:t>‹#›</a:t>
            </a:fld>
            <a:endParaRPr dirty="0">
              <a:solidFill>
                <a:prstClr val="white"/>
              </a:solidFill>
            </a:endParaRPr>
          </a:p>
        </p:txBody>
      </p:sp>
      <p:sp>
        <p:nvSpPr>
          <p:cNvPr id="5" name="Content Placeholder 4"/>
          <p:cNvSpPr>
            <a:spLocks noGrp="1"/>
          </p:cNvSpPr>
          <p:nvPr>
            <p:ph sz="quarter" idx="15"/>
          </p:nvPr>
        </p:nvSpPr>
        <p:spPr>
          <a:xfrm>
            <a:off x="471951" y="1233488"/>
            <a:ext cx="11248562" cy="4649787"/>
          </a:xfrm>
        </p:spPr>
        <p:txBody>
          <a:bodyPr/>
          <a:lstStyle>
            <a:lvl1pPr>
              <a:defRPr>
                <a:solidFill>
                  <a:schemeClr val="tx1"/>
                </a:solidFill>
                <a:latin typeface="Intel Clear Light" panose="020B0404020203020204" pitchFamily="34" charset="0"/>
                <a:ea typeface="Intel Clear Light" panose="020B0404020203020204" pitchFamily="34" charset="0"/>
                <a:cs typeface="Intel Clear Light" panose="020B0404020203020204" pitchFamily="34" charset="0"/>
              </a:defRPr>
            </a:lvl1pPr>
            <a:lvl2pPr>
              <a:defRPr>
                <a:solidFill>
                  <a:schemeClr val="tx1"/>
                </a:solidFill>
                <a:latin typeface="Intel Clear Light" panose="020B0404020203020204" pitchFamily="34" charset="0"/>
                <a:ea typeface="Intel Clear Light" panose="020B0404020203020204" pitchFamily="34" charset="0"/>
                <a:cs typeface="Intel Clear Light" panose="020B0404020203020204" pitchFamily="34" charset="0"/>
              </a:defRPr>
            </a:lvl2pPr>
            <a:lvl3pPr>
              <a:defRPr>
                <a:solidFill>
                  <a:schemeClr val="tx1"/>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a:defRPr>
                <a:solidFill>
                  <a:schemeClr val="tx1"/>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a:defRPr>
                <a:solidFill>
                  <a:schemeClr val="tx1"/>
                </a:solidFill>
                <a:latin typeface="Intel Clear Light" panose="020B0404020203020204" pitchFamily="34" charset="0"/>
                <a:ea typeface="Intel Clear Light" panose="020B0404020203020204" pitchFamily="34" charset="0"/>
                <a:cs typeface="Intel Clear Light" panose="020B04040202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988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Slide with Radial Gradient">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2397" y="510892"/>
            <a:ext cx="1664065" cy="1106467"/>
          </a:xfrm>
          <a:prstGeom prst="rect">
            <a:avLst/>
          </a:prstGeom>
          <a:noFill/>
          <a:extLst>
            <a:ext uri="{909E8E84-426E-40dd-AFC4-6F175D3DCCD1}">
              <a14:hiddenFill xmlns:a14="http://schemas.microsoft.com/office/drawing/2010/main" xmlns="">
                <a:solidFill>
                  <a:srgbClr val="FFFFFF"/>
                </a:solidFill>
              </a14:hiddenFill>
            </a:ext>
          </a:extLst>
        </p:spPr>
      </p:pic>
      <p:sp>
        <p:nvSpPr>
          <p:cNvPr id="7" name="Subtitle 2"/>
          <p:cNvSpPr>
            <a:spLocks noGrp="1"/>
          </p:cNvSpPr>
          <p:nvPr>
            <p:ph type="subTitle" idx="1" hasCustomPrompt="1"/>
          </p:nvPr>
        </p:nvSpPr>
        <p:spPr>
          <a:xfrm>
            <a:off x="607484" y="4657344"/>
            <a:ext cx="8440283" cy="1233813"/>
          </a:xfrm>
        </p:spPr>
        <p:txBody>
          <a:bodyPr lIns="0" rIns="0">
            <a:noAutofit/>
          </a:bodyPr>
          <a:lstStyle>
            <a:lvl1pPr marL="0" indent="0" algn="l">
              <a:buNone/>
              <a:defRPr lang="en-US" sz="1600" b="0" i="0" kern="1200" baseline="0" dirty="0" smtClean="0">
                <a:solidFill>
                  <a:srgbClr val="F3D54E"/>
                </a:solidFill>
                <a:latin typeface="Intel Clear"/>
                <a:ea typeface="+mn-ea"/>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13" name="Title 1"/>
          <p:cNvSpPr>
            <a:spLocks noGrp="1"/>
          </p:cNvSpPr>
          <p:nvPr>
            <p:ph type="ctrTitle" hasCustomPrompt="1"/>
          </p:nvPr>
        </p:nvSpPr>
        <p:spPr>
          <a:xfrm>
            <a:off x="605369" y="3306044"/>
            <a:ext cx="10950515" cy="1336387"/>
          </a:xfrm>
        </p:spPr>
        <p:txBody>
          <a:bodyPr lIns="0" rIns="0" anchor="b" anchorCtr="0">
            <a:noAutofit/>
          </a:bodyPr>
          <a:lstStyle>
            <a:lvl1pPr>
              <a:lnSpc>
                <a:spcPts val="5500"/>
              </a:lnSpc>
              <a:spcBef>
                <a:spcPts val="2400"/>
              </a:spcBef>
              <a:defRPr sz="5000" b="0" spc="133" baseline="0">
                <a:solidFill>
                  <a:schemeClr val="bg1"/>
                </a:solidFill>
                <a:latin typeface="Intel Clear"/>
                <a:cs typeface="Intel Clear"/>
              </a:defRPr>
            </a:lvl1pPr>
          </a:lstStyle>
          <a:p>
            <a:r>
              <a:rPr lang="en-US" dirty="0"/>
              <a:t>50pt Intel Clear Title</a:t>
            </a:r>
            <a:br>
              <a:rPr lang="en-US" dirty="0"/>
            </a:br>
            <a:r>
              <a:rPr lang="en-US" dirty="0"/>
              <a:t>with Radial Gradient</a:t>
            </a:r>
          </a:p>
        </p:txBody>
      </p:sp>
    </p:spTree>
    <p:extLst>
      <p:ext uri="{BB962C8B-B14F-4D97-AF65-F5344CB8AC3E}">
        <p14:creationId xmlns:p14="http://schemas.microsoft.com/office/powerpoint/2010/main" val="3559800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C1437-1C10-41FE-AAFF-DE0A7ED8D8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9DDF06-39DF-4D53-9EBF-153AFA54DA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696DC68-56F7-4583-AD56-8BAEDDD10A3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0ADD63-02F3-455A-8274-7110DDFA54F3}"/>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6" name="Footer Placeholder 5">
            <a:extLst>
              <a:ext uri="{FF2B5EF4-FFF2-40B4-BE49-F238E27FC236}">
                <a16:creationId xmlns:a16="http://schemas.microsoft.com/office/drawing/2014/main" id="{4E1A8BC4-DC11-4313-A563-D8F0C9BF17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48424B-7DAA-4A6D-AC77-DFB5C5092F47}"/>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1873319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ue Section Break">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4294967295"/>
          </p:nvPr>
        </p:nvSpPr>
        <p:spPr>
          <a:xfrm>
            <a:off x="607484" y="4615011"/>
            <a:ext cx="8440283" cy="1233813"/>
          </a:xfrm>
        </p:spPr>
        <p:txBody>
          <a:bodyPr lIns="0" rIns="0">
            <a:noAutofit/>
          </a:bodyPr>
          <a:lstStyle>
            <a:lvl1pPr marL="0" indent="0" algn="l">
              <a:buNone/>
              <a:defRPr sz="1600" b="0" i="0" baseline="0">
                <a:solidFill>
                  <a:srgbClr val="F3D54E"/>
                </a:solidFill>
                <a:latin typeface="Intel Clear"/>
                <a:cs typeface="Intel Clear"/>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16pt Intel Clear Subhead, Date, Etc.</a:t>
            </a:r>
          </a:p>
        </p:txBody>
      </p:sp>
      <p:sp>
        <p:nvSpPr>
          <p:cNvPr id="7" name="Title 1"/>
          <p:cNvSpPr>
            <a:spLocks noGrp="1"/>
          </p:cNvSpPr>
          <p:nvPr>
            <p:ph type="ctrTitle"/>
          </p:nvPr>
        </p:nvSpPr>
        <p:spPr>
          <a:xfrm>
            <a:off x="584449" y="3220123"/>
            <a:ext cx="10950515" cy="1336387"/>
          </a:xfrm>
        </p:spPr>
        <p:txBody>
          <a:bodyPr lIns="0" rIns="0" anchor="b" anchorCtr="0">
            <a:noAutofit/>
          </a:bodyPr>
          <a:lstStyle>
            <a:lvl1pPr>
              <a:lnSpc>
                <a:spcPct val="100000"/>
              </a:lnSpc>
              <a:spcBef>
                <a:spcPts val="0"/>
              </a:spcBef>
              <a:spcAft>
                <a:spcPts val="800"/>
              </a:spcAft>
              <a:defRPr sz="4000" b="0" spc="133" baseline="0">
                <a:solidFill>
                  <a:schemeClr val="bg1"/>
                </a:solidFill>
                <a:latin typeface="Intel Clear"/>
                <a:cs typeface="Intel Clear"/>
              </a:defRPr>
            </a:lvl1pPr>
          </a:lstStyle>
          <a:p>
            <a:pPr>
              <a:lnSpc>
                <a:spcPct val="100000"/>
              </a:lnSpc>
              <a:spcBef>
                <a:spcPts val="0"/>
              </a:spcBef>
              <a:spcAft>
                <a:spcPts val="600"/>
              </a:spcAft>
            </a:pPr>
            <a:r>
              <a:rPr lang="en-US" spc="0" dirty="0"/>
              <a:t>40pt Intel Clear</a:t>
            </a:r>
            <a:br>
              <a:rPr lang="en-US" spc="0" dirty="0"/>
            </a:br>
            <a:r>
              <a:rPr lang="en-US" spc="0" dirty="0"/>
              <a:t>Blue Section Break</a:t>
            </a:r>
          </a:p>
        </p:txBody>
      </p:sp>
      <p:sp>
        <p:nvSpPr>
          <p:cNvPr id="9" name="Slide Number Placeholder 5"/>
          <p:cNvSpPr>
            <a:spLocks noGrp="1"/>
          </p:cNvSpPr>
          <p:nvPr>
            <p:ph type="sldNum" sz="quarter" idx="12"/>
          </p:nvPr>
        </p:nvSpPr>
        <p:spPr>
          <a:xfrm>
            <a:off x="9163136" y="6432516"/>
            <a:ext cx="2844800" cy="365125"/>
          </a:xfrm>
        </p:spPr>
        <p:txBody>
          <a:bodyPr/>
          <a:lstStyle/>
          <a:p>
            <a:fld id="{EE2556C5-CE8C-6547-B838-EA80C61A4AF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412747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hero">
    <p:spTree>
      <p:nvGrpSpPr>
        <p:cNvPr id="1" name=""/>
        <p:cNvGrpSpPr/>
        <p:nvPr/>
      </p:nvGrpSpPr>
      <p:grpSpPr>
        <a:xfrm>
          <a:off x="0" y="0"/>
          <a:ext cx="0" cy="0"/>
          <a:chOff x="0" y="0"/>
          <a:chExt cx="0" cy="0"/>
        </a:xfrm>
      </p:grpSpPr>
      <p:sp>
        <p:nvSpPr>
          <p:cNvPr id="6" name="Title 6"/>
          <p:cNvSpPr>
            <a:spLocks noGrp="1"/>
          </p:cNvSpPr>
          <p:nvPr>
            <p:ph type="title" hasCustomPrompt="1"/>
          </p:nvPr>
        </p:nvSpPr>
        <p:spPr>
          <a:xfrm>
            <a:off x="609600" y="324043"/>
            <a:ext cx="10972800" cy="1158240"/>
          </a:xfrm>
        </p:spPr>
        <p:txBody>
          <a:bodyPr/>
          <a:lstStyle>
            <a:lvl1pPr>
              <a:lnSpc>
                <a:spcPct val="80000"/>
              </a:lnSpc>
              <a:defRPr sz="6400" b="0" i="0" baseline="0">
                <a:solidFill>
                  <a:schemeClr val="accent1">
                    <a:lumMod val="75000"/>
                  </a:schemeClr>
                </a:solidFill>
                <a:latin typeface="Intel Clear Pro Bold" panose="020B0804020202060201" pitchFamily="34" charset="0"/>
                <a:ea typeface="Intel Clear Pro Bold" panose="020B0804020202060201" pitchFamily="34" charset="0"/>
                <a:cs typeface="Intel Clear Pro Bold" panose="020B0804020202060201" pitchFamily="34" charset="0"/>
              </a:defRPr>
            </a:lvl1pPr>
          </a:lstStyle>
          <a:p>
            <a:r>
              <a:rPr lang="en-US"/>
              <a:t>28pt Intel Clear pro Headline</a:t>
            </a:r>
          </a:p>
        </p:txBody>
      </p:sp>
      <p:sp>
        <p:nvSpPr>
          <p:cNvPr id="3" name="Slide Number Placeholder 5">
            <a:extLst>
              <a:ext uri="{FF2B5EF4-FFF2-40B4-BE49-F238E27FC236}">
                <a16:creationId xmlns:a16="http://schemas.microsoft.com/office/drawing/2014/main" id="{2CFB228F-DAF4-4E31-A47B-4378DE10560F}"/>
              </a:ext>
            </a:extLst>
          </p:cNvPr>
          <p:cNvSpPr>
            <a:spLocks noGrp="1"/>
          </p:cNvSpPr>
          <p:nvPr>
            <p:ph type="sldNum" sz="quarter" idx="12"/>
          </p:nvPr>
        </p:nvSpPr>
        <p:spPr>
          <a:xfrm>
            <a:off x="9163136" y="6432516"/>
            <a:ext cx="2844800" cy="365125"/>
          </a:xfrm>
        </p:spPr>
        <p:txBody>
          <a:bodyPr/>
          <a:lstStyle>
            <a:lvl1pPr>
              <a:defRPr/>
            </a:lvl1pPr>
          </a:lstStyle>
          <a:p>
            <a:fld id="{57A8BED9-DBCE-4678-A762-A6BD1C469CC7}" type="slidenum">
              <a:rPr lang="en-US" smtClean="0"/>
              <a:pPr/>
              <a:t>‹#›</a:t>
            </a:fld>
            <a:endParaRPr lang="en-US"/>
          </a:p>
        </p:txBody>
      </p:sp>
    </p:spTree>
    <p:extLst>
      <p:ext uri="{BB962C8B-B14F-4D97-AF65-F5344CB8AC3E}">
        <p14:creationId xmlns:p14="http://schemas.microsoft.com/office/powerpoint/2010/main" val="272459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Subtitle">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304702"/>
            <a:ext cx="11023603" cy="582724"/>
          </a:xfrm>
        </p:spPr>
        <p:txBody>
          <a:bodyPr/>
          <a:lstStyle>
            <a:lvl1pPr>
              <a:defRPr sz="4267">
                <a:solidFill>
                  <a:schemeClr val="tx1"/>
                </a:solidFill>
              </a:defRPr>
            </a:lvl1pPr>
          </a:lstStyle>
          <a:p>
            <a:r>
              <a:rPr lang="en-US"/>
              <a:t>Click to edit title</a:t>
            </a:r>
          </a:p>
        </p:txBody>
      </p:sp>
      <p:sp>
        <p:nvSpPr>
          <p:cNvPr id="3" name="Slide Number Placeholder 2"/>
          <p:cNvSpPr>
            <a:spLocks noGrp="1"/>
          </p:cNvSpPr>
          <p:nvPr>
            <p:ph type="sldNum" sz="quarter" idx="14"/>
          </p:nvPr>
        </p:nvSpPr>
        <p:spPr/>
        <p:txBody>
          <a:bodyPr/>
          <a:lstStyle/>
          <a:p>
            <a:pPr algn="l" defTabSz="609585" eaLnBrk="0" fontAlgn="base" hangingPunct="0">
              <a:spcBef>
                <a:spcPct val="50000"/>
              </a:spcBef>
              <a:spcAft>
                <a:spcPct val="0"/>
              </a:spcAft>
              <a:defRPr/>
            </a:pPr>
            <a:fld id="{FD44707B-D922-47D5-BD24-D96E91B70543}" type="slidenum">
              <a:rPr lang="en-US" smtClean="0">
                <a:solidFill>
                  <a:srgbClr val="FFFFFF"/>
                </a:solidFill>
                <a:cs typeface="Arial" panose="020B0604020202020204" pitchFamily="34" charset="0"/>
              </a:rPr>
              <a:pPr algn="l" defTabSz="609585" eaLnBrk="0" fontAlgn="base" hangingPunct="0">
                <a:spcBef>
                  <a:spcPct val="50000"/>
                </a:spcBef>
                <a:spcAft>
                  <a:spcPct val="0"/>
                </a:spcAft>
                <a:defRPr/>
              </a:pPr>
              <a:t>‹#›</a:t>
            </a:fld>
            <a:endParaRPr lang="en-US">
              <a:solidFill>
                <a:srgbClr val="FFFFFF"/>
              </a:solidFill>
              <a:cs typeface="Arial" panose="020B0604020202020204" pitchFamily="34" charset="0"/>
            </a:endParaRPr>
          </a:p>
        </p:txBody>
      </p:sp>
      <p:sp>
        <p:nvSpPr>
          <p:cNvPr id="4" name="Subtitle Placeholder">
            <a:extLst>
              <a:ext uri="{FF2B5EF4-FFF2-40B4-BE49-F238E27FC236}">
                <a16:creationId xmlns:a16="http://schemas.microsoft.com/office/drawing/2014/main" id="{1DF02EC8-DEA4-495A-B241-901016364695}"/>
              </a:ext>
            </a:extLst>
          </p:cNvPr>
          <p:cNvSpPr>
            <a:spLocks noGrp="1"/>
          </p:cNvSpPr>
          <p:nvPr>
            <p:ph type="body" sz="quarter" idx="15" hasCustomPrompt="1"/>
          </p:nvPr>
        </p:nvSpPr>
        <p:spPr>
          <a:xfrm>
            <a:off x="585216" y="845612"/>
            <a:ext cx="11021568" cy="431800"/>
          </a:xfrm>
        </p:spPr>
        <p:txBody>
          <a:bodyPr tIns="0"/>
          <a:lstStyle>
            <a:lvl1pPr>
              <a:defRPr sz="1867">
                <a:solidFill>
                  <a:srgbClr val="7ED2F6"/>
                </a:solidFill>
              </a:defRPr>
            </a:lvl1pPr>
          </a:lstStyle>
          <a:p>
            <a:pPr lvl="0"/>
            <a:r>
              <a:rPr lang="en-US"/>
              <a:t>Subtitle</a:t>
            </a:r>
            <a:endParaRPr lang="en-IN"/>
          </a:p>
        </p:txBody>
      </p:sp>
      <p:sp>
        <p:nvSpPr>
          <p:cNvPr id="5" name="Rectangle 7">
            <a:extLst>
              <a:ext uri="{FF2B5EF4-FFF2-40B4-BE49-F238E27FC236}">
                <a16:creationId xmlns:a16="http://schemas.microsoft.com/office/drawing/2014/main" id="{862DFA37-4CA4-4445-A10A-423A9C5127F1}"/>
              </a:ext>
            </a:extLst>
          </p:cNvPr>
          <p:cNvSpPr/>
          <p:nvPr userDrawn="1"/>
        </p:nvSpPr>
        <p:spPr>
          <a:xfrm>
            <a:off x="0" y="6290268"/>
            <a:ext cx="12192000" cy="563165"/>
          </a:xfrm>
          <a:prstGeom prst="rect">
            <a:avLst/>
          </a:prstGeom>
          <a:gradFill>
            <a:gsLst>
              <a:gs pos="32000">
                <a:srgbClr val="003C71"/>
              </a:gs>
              <a:gs pos="95000">
                <a:srgbClr val="009FDF"/>
              </a:gs>
              <a:gs pos="78000">
                <a:srgbClr val="0071C5"/>
              </a:gs>
            </a:gsLst>
            <a:lin ang="1986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6" name="Straight Connector 5">
            <a:extLst>
              <a:ext uri="{FF2B5EF4-FFF2-40B4-BE49-F238E27FC236}">
                <a16:creationId xmlns:a16="http://schemas.microsoft.com/office/drawing/2014/main" id="{EE1EE0FB-662F-43AC-A068-D9E9BAFB9446}"/>
              </a:ext>
            </a:extLst>
          </p:cNvPr>
          <p:cNvCxnSpPr/>
          <p:nvPr userDrawn="1"/>
        </p:nvCxnSpPr>
        <p:spPr>
          <a:xfrm>
            <a:off x="11633712" y="6516195"/>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5">
            <a:extLst>
              <a:ext uri="{FF2B5EF4-FFF2-40B4-BE49-F238E27FC236}">
                <a16:creationId xmlns:a16="http://schemas.microsoft.com/office/drawing/2014/main" id="{D3E7164D-CC01-4BB1-BE45-361B9876CB6E}"/>
              </a:ext>
            </a:extLst>
          </p:cNvPr>
          <p:cNvSpPr txBox="1">
            <a:spLocks/>
          </p:cNvSpPr>
          <p:nvPr userDrawn="1"/>
        </p:nvSpPr>
        <p:spPr>
          <a:xfrm>
            <a:off x="11797792" y="6553152"/>
            <a:ext cx="171522" cy="164212"/>
          </a:xfrm>
          <a:prstGeom prst="rect">
            <a:avLst/>
          </a:prstGeom>
          <a:noFill/>
          <a:ln w="50800" algn="ctr">
            <a:noFill/>
            <a:miter lim="800000"/>
            <a:headEnd type="none" w="sm" len="sm"/>
            <a:tailEnd type="none" w="sm" len="sm"/>
          </a:ln>
          <a:effectLst/>
        </p:spPr>
        <p:txBody>
          <a:bodyPr wrap="none" lIns="0" tIns="0" rIns="0" bIns="0" anchor="ctr" anchorCtr="0">
            <a:spAutoFit/>
          </a:bodyPr>
          <a:lstStyle>
            <a:defPPr>
              <a:defRPr lang="en-US"/>
            </a:defPPr>
            <a:lvl1pPr marL="0" algn="l" defTabSz="914400" rtl="0" eaLnBrk="1" latinLnBrk="0" hangingPunct="1">
              <a:defRPr lang="en-US" sz="800" kern="1200" smtClean="0">
                <a:solidFill>
                  <a:srgbClr val="FFFFFF"/>
                </a:solidFill>
                <a:latin typeface="+mn-lt"/>
                <a:ea typeface="+mn-ea"/>
                <a:cs typeface="Intel Clear" panose="020B06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50000"/>
              </a:spcBef>
              <a:spcAft>
                <a:spcPct val="0"/>
              </a:spcAft>
            </a:pPr>
            <a:fld id="{FD44707B-D922-47D5-BD24-D96E91B70543}" type="slidenum">
              <a:rPr lang="en-IN" sz="1067" smtClean="0"/>
              <a:pPr eaLnBrk="0" fontAlgn="base" hangingPunct="0">
                <a:spcBef>
                  <a:spcPct val="50000"/>
                </a:spcBef>
                <a:spcAft>
                  <a:spcPct val="0"/>
                </a:spcAft>
              </a:pPr>
              <a:t>‹#›</a:t>
            </a:fld>
            <a:endParaRPr lang="en-IN" sz="1067"/>
          </a:p>
        </p:txBody>
      </p:sp>
      <p:grpSp>
        <p:nvGrpSpPr>
          <p:cNvPr id="8" name="Group 7">
            <a:extLst>
              <a:ext uri="{FF2B5EF4-FFF2-40B4-BE49-F238E27FC236}">
                <a16:creationId xmlns:a16="http://schemas.microsoft.com/office/drawing/2014/main" id="{EB954E69-D141-4AC7-933D-A6EAB12C7560}"/>
              </a:ext>
            </a:extLst>
          </p:cNvPr>
          <p:cNvGrpSpPr/>
          <p:nvPr userDrawn="1"/>
        </p:nvGrpSpPr>
        <p:grpSpPr>
          <a:xfrm>
            <a:off x="11027965" y="6486789"/>
            <a:ext cx="452539" cy="298259"/>
            <a:chOff x="451796" y="386081"/>
            <a:chExt cx="1249194" cy="823318"/>
          </a:xfrm>
        </p:grpSpPr>
        <p:sp>
          <p:nvSpPr>
            <p:cNvPr id="9" name="Freeform 36">
              <a:extLst>
                <a:ext uri="{FF2B5EF4-FFF2-40B4-BE49-F238E27FC236}">
                  <a16:creationId xmlns:a16="http://schemas.microsoft.com/office/drawing/2014/main" id="{E2471882-8ACC-4B4D-8844-1FFF6E2808B3}"/>
                </a:ext>
              </a:extLst>
            </p:cNvPr>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10" name="Freeform 37">
              <a:extLst>
                <a:ext uri="{FF2B5EF4-FFF2-40B4-BE49-F238E27FC236}">
                  <a16:creationId xmlns:a16="http://schemas.microsoft.com/office/drawing/2014/main" id="{F2ABE839-E2EC-4664-BADE-9A61D08758AF}"/>
                </a:ext>
              </a:extLst>
            </p:cNvPr>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sp>
        <p:nvSpPr>
          <p:cNvPr id="11" name="TextBox 10">
            <a:extLst>
              <a:ext uri="{FF2B5EF4-FFF2-40B4-BE49-F238E27FC236}">
                <a16:creationId xmlns:a16="http://schemas.microsoft.com/office/drawing/2014/main" id="{856A53DF-290B-4388-930A-A5D23C41E23B}"/>
              </a:ext>
            </a:extLst>
          </p:cNvPr>
          <p:cNvSpPr txBox="1"/>
          <p:nvPr userDrawn="1"/>
        </p:nvSpPr>
        <p:spPr>
          <a:xfrm>
            <a:off x="471950" y="6520159"/>
            <a:ext cx="2135521" cy="215444"/>
          </a:xfrm>
          <a:prstGeom prst="rect">
            <a:avLst/>
          </a:prstGeom>
          <a:noFill/>
        </p:spPr>
        <p:txBody>
          <a:bodyPr wrap="none" rtlCol="0" anchor="ctr" anchorCtr="0">
            <a:spAutoFit/>
          </a:bodyPr>
          <a:lstStyle/>
          <a:p>
            <a:pPr algn="l"/>
            <a:r>
              <a:rPr lang="en-US" sz="800" dirty="0">
                <a:solidFill>
                  <a:srgbClr val="FFFFFF"/>
                </a:solidFill>
                <a:latin typeface="+mn-lt"/>
              </a:rPr>
              <a:t>Vision &amp; Edge AI,</a:t>
            </a:r>
            <a:r>
              <a:rPr lang="en-US" sz="800" baseline="0" dirty="0">
                <a:solidFill>
                  <a:srgbClr val="FFFFFF"/>
                </a:solidFill>
                <a:latin typeface="+mn-lt"/>
              </a:rPr>
              <a:t> </a:t>
            </a:r>
            <a:r>
              <a:rPr lang="en-US" sz="800" dirty="0">
                <a:solidFill>
                  <a:srgbClr val="FFFFFF"/>
                </a:solidFill>
                <a:latin typeface="+mn-lt"/>
              </a:rPr>
              <a:t>Internet of Things Group</a:t>
            </a:r>
          </a:p>
        </p:txBody>
      </p:sp>
      <p:sp>
        <p:nvSpPr>
          <p:cNvPr id="12" name="TextBox 11">
            <a:extLst>
              <a:ext uri="{FF2B5EF4-FFF2-40B4-BE49-F238E27FC236}">
                <a16:creationId xmlns:a16="http://schemas.microsoft.com/office/drawing/2014/main" id="{AA91D59B-F281-42FF-B31C-4507E021E7BE}"/>
              </a:ext>
            </a:extLst>
          </p:cNvPr>
          <p:cNvSpPr txBox="1"/>
          <p:nvPr userDrawn="1"/>
        </p:nvSpPr>
        <p:spPr>
          <a:xfrm>
            <a:off x="5200242" y="6520159"/>
            <a:ext cx="978153" cy="215444"/>
          </a:xfrm>
          <a:prstGeom prst="rect">
            <a:avLst/>
          </a:prstGeom>
          <a:noFill/>
        </p:spPr>
        <p:txBody>
          <a:bodyPr wrap="none" rtlCol="0" anchor="ctr" anchorCtr="0">
            <a:spAutoFit/>
          </a:bodyPr>
          <a:lstStyle/>
          <a:p>
            <a:pPr algn="l"/>
            <a:r>
              <a:rPr lang="en-US" sz="800" dirty="0">
                <a:solidFill>
                  <a:srgbClr val="FFFFFF"/>
                </a:solidFill>
                <a:latin typeface="+mn-lt"/>
              </a:rPr>
              <a:t>Intel Corporation</a:t>
            </a:r>
          </a:p>
        </p:txBody>
      </p:sp>
    </p:spTree>
    <p:extLst>
      <p:ext uri="{BB962C8B-B14F-4D97-AF65-F5344CB8AC3E}">
        <p14:creationId xmlns:p14="http://schemas.microsoft.com/office/powerpoint/2010/main" val="3292490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 dark gradient">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2" name="Title 1"/>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
        <p:nvSpPr>
          <p:cNvPr id="3" name="Content Placeholder 2"/>
          <p:cNvSpPr>
            <a:spLocks noGrp="1"/>
          </p:cNvSpPr>
          <p:nvPr>
            <p:ph idx="1" hasCustomPrompt="1"/>
          </p:nvPr>
        </p:nvSpPr>
        <p:spPr>
          <a:xfrm>
            <a:off x="471952" y="1558458"/>
            <a:ext cx="11248101" cy="4284985"/>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Tree>
    <p:extLst>
      <p:ext uri="{BB962C8B-B14F-4D97-AF65-F5344CB8AC3E}">
        <p14:creationId xmlns:p14="http://schemas.microsoft.com/office/powerpoint/2010/main" val="640784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 dark gradient">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16" name="Content Placeholder 2">
            <a:extLst>
              <a:ext uri="{FF2B5EF4-FFF2-40B4-BE49-F238E27FC236}">
                <a16:creationId xmlns:a16="http://schemas.microsoft.com/office/drawing/2014/main" id="{27C106E7-150C-467B-8B54-88422A09AC75}"/>
              </a:ext>
            </a:extLst>
          </p:cNvPr>
          <p:cNvSpPr>
            <a:spLocks noGrp="1"/>
          </p:cNvSpPr>
          <p:nvPr>
            <p:ph idx="14" hasCustomPrompt="1"/>
          </p:nvPr>
        </p:nvSpPr>
        <p:spPr>
          <a:xfrm>
            <a:off x="471949" y="1558456"/>
            <a:ext cx="552245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64410A56-06BC-4998-B8C4-66856BB1AC13}"/>
              </a:ext>
            </a:extLst>
          </p:cNvPr>
          <p:cNvSpPr>
            <a:spLocks noGrp="1"/>
          </p:cNvSpPr>
          <p:nvPr>
            <p:ph idx="15" hasCustomPrompt="1"/>
          </p:nvPr>
        </p:nvSpPr>
        <p:spPr>
          <a:xfrm>
            <a:off x="6197601" y="1558456"/>
            <a:ext cx="552245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7">
            <a:extLst>
              <a:ext uri="{FF2B5EF4-FFF2-40B4-BE49-F238E27FC236}">
                <a16:creationId xmlns:a16="http://schemas.microsoft.com/office/drawing/2014/main" id="{CB953F4B-B823-4852-852E-396E04B1104D}"/>
              </a:ext>
            </a:extLst>
          </p:cNvPr>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
        <p:nvSpPr>
          <p:cNvPr id="19" name="Title 3">
            <a:extLst>
              <a:ext uri="{FF2B5EF4-FFF2-40B4-BE49-F238E27FC236}">
                <a16:creationId xmlns:a16="http://schemas.microsoft.com/office/drawing/2014/main" id="{B0B75168-3596-40E3-8034-E9F98546C364}"/>
              </a:ext>
            </a:extLst>
          </p:cNvPr>
          <p:cNvSpPr>
            <a:spLocks noGrp="1"/>
          </p:cNvSpPr>
          <p:nvPr>
            <p:ph type="title" hasCustomPrompt="1"/>
          </p:nvPr>
        </p:nvSpPr>
        <p:spPr>
          <a:xfrm>
            <a:off x="471952" y="304700"/>
            <a:ext cx="11248101" cy="769441"/>
          </a:xfrm>
        </p:spPr>
        <p:txBody>
          <a:bodyPr/>
          <a:lstStyle>
            <a:lvl1pPr>
              <a:defRPr>
                <a:solidFill>
                  <a:schemeClr val="tx1">
                    <a:alpha val="90000"/>
                  </a:schemeClr>
                </a:solidFill>
              </a:defRPr>
            </a:lvl1pPr>
          </a:lstStyle>
          <a:p>
            <a:r>
              <a:rPr lang="en-US" dirty="0"/>
              <a:t>Click to edit title</a:t>
            </a:r>
          </a:p>
        </p:txBody>
      </p:sp>
    </p:spTree>
    <p:extLst>
      <p:ext uri="{BB962C8B-B14F-4D97-AF65-F5344CB8AC3E}">
        <p14:creationId xmlns:p14="http://schemas.microsoft.com/office/powerpoint/2010/main" val="3276571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s - dark gradient">
    <p:spTree>
      <p:nvGrpSpPr>
        <p:cNvPr id="1" name=""/>
        <p:cNvGrpSpPr/>
        <p:nvPr/>
      </p:nvGrpSpPr>
      <p:grpSpPr>
        <a:xfrm>
          <a:off x="0" y="0"/>
          <a:ext cx="0" cy="0"/>
          <a:chOff x="0" y="0"/>
          <a:chExt cx="0" cy="0"/>
        </a:xfrm>
      </p:grpSpPr>
      <p:sp>
        <p:nvSpPr>
          <p:cNvPr id="3" name="Slide Number Placeholder 2"/>
          <p:cNvSpPr>
            <a:spLocks noGrp="1"/>
          </p:cNvSpPr>
          <p:nvPr>
            <p:ph type="sldNum" sz="quarter" idx="17"/>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12" name="Content Placeholder 2">
            <a:extLst>
              <a:ext uri="{FF2B5EF4-FFF2-40B4-BE49-F238E27FC236}">
                <a16:creationId xmlns:a16="http://schemas.microsoft.com/office/drawing/2014/main" id="{669CC8D1-86C1-410E-8F7A-11307317F2D0}"/>
              </a:ext>
            </a:extLst>
          </p:cNvPr>
          <p:cNvSpPr>
            <a:spLocks noGrp="1"/>
          </p:cNvSpPr>
          <p:nvPr>
            <p:ph idx="14" hasCustomPrompt="1"/>
          </p:nvPr>
        </p:nvSpPr>
        <p:spPr>
          <a:xfrm>
            <a:off x="471949"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51C976CB-5162-4B2E-84E8-AEE142DB4805}"/>
              </a:ext>
            </a:extLst>
          </p:cNvPr>
          <p:cNvSpPr>
            <a:spLocks noGrp="1"/>
          </p:cNvSpPr>
          <p:nvPr>
            <p:ph idx="15" hasCustomPrompt="1"/>
          </p:nvPr>
        </p:nvSpPr>
        <p:spPr>
          <a:xfrm>
            <a:off x="4289817"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81532629-36EA-430C-80CB-83287EC2116C}"/>
              </a:ext>
            </a:extLst>
          </p:cNvPr>
          <p:cNvSpPr>
            <a:spLocks noGrp="1"/>
          </p:cNvSpPr>
          <p:nvPr>
            <p:ph idx="16" hasCustomPrompt="1"/>
          </p:nvPr>
        </p:nvSpPr>
        <p:spPr>
          <a:xfrm>
            <a:off x="8107681"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4E82BD74-D6E9-4EDA-9688-8FB150338AD8}"/>
              </a:ext>
            </a:extLst>
          </p:cNvPr>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
        <p:nvSpPr>
          <p:cNvPr id="20" name="Title 3">
            <a:extLst>
              <a:ext uri="{FF2B5EF4-FFF2-40B4-BE49-F238E27FC236}">
                <a16:creationId xmlns:a16="http://schemas.microsoft.com/office/drawing/2014/main" id="{207D35CC-800A-40A9-BBF9-89397F16300B}"/>
              </a:ext>
            </a:extLst>
          </p:cNvPr>
          <p:cNvSpPr>
            <a:spLocks noGrp="1"/>
          </p:cNvSpPr>
          <p:nvPr>
            <p:ph type="title" hasCustomPrompt="1"/>
          </p:nvPr>
        </p:nvSpPr>
        <p:spPr>
          <a:xfrm>
            <a:off x="471952" y="304700"/>
            <a:ext cx="11248101" cy="769441"/>
          </a:xfrm>
        </p:spPr>
        <p:txBody>
          <a:bodyPr/>
          <a:lstStyle>
            <a:lvl1pPr>
              <a:defRPr>
                <a:solidFill>
                  <a:schemeClr val="tx1">
                    <a:alpha val="90000"/>
                  </a:schemeClr>
                </a:solidFill>
              </a:defRPr>
            </a:lvl1pPr>
          </a:lstStyle>
          <a:p>
            <a:r>
              <a:rPr lang="en-US" dirty="0"/>
              <a:t>Click to edit title</a:t>
            </a:r>
          </a:p>
        </p:txBody>
      </p:sp>
    </p:spTree>
    <p:extLst>
      <p:ext uri="{BB962C8B-B14F-4D97-AF65-F5344CB8AC3E}">
        <p14:creationId xmlns:p14="http://schemas.microsoft.com/office/powerpoint/2010/main" val="500541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 dark gradient">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13" name="Title 1">
            <a:extLst>
              <a:ext uri="{FF2B5EF4-FFF2-40B4-BE49-F238E27FC236}">
                <a16:creationId xmlns:a16="http://schemas.microsoft.com/office/drawing/2014/main" id="{C0A1CEED-F53D-4469-A6A3-111FA6EFE7F3}"/>
              </a:ext>
            </a:extLst>
          </p:cNvPr>
          <p:cNvSpPr>
            <a:spLocks noGrp="1"/>
          </p:cNvSpPr>
          <p:nvPr>
            <p:ph type="title" hasCustomPrompt="1"/>
          </p:nvPr>
        </p:nvSpPr>
        <p:spPr>
          <a:xfrm>
            <a:off x="471952" y="304700"/>
            <a:ext cx="11248101" cy="830997"/>
          </a:xfrm>
        </p:spPr>
        <p:txBody>
          <a:bodyPr/>
          <a:lstStyle>
            <a:lvl1pPr>
              <a:defRPr sz="4800">
                <a:solidFill>
                  <a:schemeClr val="tx1">
                    <a:alpha val="90000"/>
                  </a:schemeClr>
                </a:solidFill>
              </a:defRPr>
            </a:lvl1pPr>
          </a:lstStyle>
          <a:p>
            <a:r>
              <a:rPr lang="en-US" dirty="0"/>
              <a:t>Click to edit title</a:t>
            </a:r>
          </a:p>
        </p:txBody>
      </p:sp>
      <p:sp>
        <p:nvSpPr>
          <p:cNvPr id="14" name="Text Placeholder 7">
            <a:extLst>
              <a:ext uri="{FF2B5EF4-FFF2-40B4-BE49-F238E27FC236}">
                <a16:creationId xmlns:a16="http://schemas.microsoft.com/office/drawing/2014/main" id="{5F8B1CE0-3465-4B16-9281-63D505BFF4FA}"/>
              </a:ext>
            </a:extLst>
          </p:cNvPr>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Tree>
    <p:extLst>
      <p:ext uri="{BB962C8B-B14F-4D97-AF65-F5344CB8AC3E}">
        <p14:creationId xmlns:p14="http://schemas.microsoft.com/office/powerpoint/2010/main" val="4072610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dark gradien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41" name="Title 1">
            <a:extLst>
              <a:ext uri="{FF2B5EF4-FFF2-40B4-BE49-F238E27FC236}">
                <a16:creationId xmlns:a16="http://schemas.microsoft.com/office/drawing/2014/main" id="{AC63EBF8-9636-487A-94D3-E387D12C369C}"/>
              </a:ext>
            </a:extLst>
          </p:cNvPr>
          <p:cNvSpPr>
            <a:spLocks noGrp="1"/>
          </p:cNvSpPr>
          <p:nvPr>
            <p:ph type="ctrTitle" hasCustomPrompt="1"/>
          </p:nvPr>
        </p:nvSpPr>
        <p:spPr>
          <a:xfrm>
            <a:off x="462848" y="3702430"/>
            <a:ext cx="11257205" cy="1056700"/>
          </a:xfrm>
        </p:spPr>
        <p:txBody>
          <a:bodyPr wrap="square" anchor="b" anchorCtr="0">
            <a:spAutoFit/>
          </a:bodyPr>
          <a:lstStyle>
            <a:lvl1pPr algn="l">
              <a:lnSpc>
                <a:spcPct val="70000"/>
              </a:lnSpc>
              <a:defRPr sz="8666" b="0">
                <a:solidFill>
                  <a:schemeClr val="tx1">
                    <a:alpha val="90000"/>
                  </a:schemeClr>
                </a:solidFill>
                <a:latin typeface="+mj-lt"/>
                <a:ea typeface="Intel Clear Pro" panose="020B0804020202060201" pitchFamily="34" charset="0"/>
                <a:cs typeface="Intel Clear Pro" panose="020B0804020202060201" pitchFamily="34" charset="0"/>
              </a:defRPr>
            </a:lvl1pPr>
          </a:lstStyle>
          <a:p>
            <a:r>
              <a:rPr lang="en-US" dirty="0"/>
              <a:t>Click to edit title</a:t>
            </a:r>
          </a:p>
        </p:txBody>
      </p:sp>
      <p:sp>
        <p:nvSpPr>
          <p:cNvPr id="42" name="Text Placeholder 8">
            <a:extLst>
              <a:ext uri="{FF2B5EF4-FFF2-40B4-BE49-F238E27FC236}">
                <a16:creationId xmlns:a16="http://schemas.microsoft.com/office/drawing/2014/main" id="{B178D922-7574-487F-BB74-1E4A84687292}"/>
              </a:ext>
            </a:extLst>
          </p:cNvPr>
          <p:cNvSpPr>
            <a:spLocks noGrp="1"/>
          </p:cNvSpPr>
          <p:nvPr>
            <p:ph type="body" sz="quarter" idx="13" hasCustomPrompt="1"/>
          </p:nvPr>
        </p:nvSpPr>
        <p:spPr>
          <a:xfrm>
            <a:off x="462848" y="4705112"/>
            <a:ext cx="11257205" cy="420564"/>
          </a:xfrm>
        </p:spPr>
        <p:txBody>
          <a:bodyPr wrap="square">
            <a:spAutoFit/>
          </a:bodyPr>
          <a:lstStyle>
            <a:lvl1pPr marL="0" indent="0" algn="l">
              <a:spcBef>
                <a:spcPts val="0"/>
              </a:spcBef>
              <a:buNone/>
              <a:defRPr sz="2133">
                <a:solidFill>
                  <a:schemeClr val="accent2">
                    <a:lumMod val="40000"/>
                    <a:lumOff val="60000"/>
                  </a:schemeClr>
                </a:solidFill>
                <a:latin typeface="+mn-lt"/>
              </a:defRPr>
            </a:lvl1pPr>
            <a:lvl2pPr marL="0" indent="0" algn="l">
              <a:buNone/>
              <a:defRPr sz="2400">
                <a:solidFill>
                  <a:schemeClr val="tx1"/>
                </a:solidFill>
              </a:defRPr>
            </a:lvl2pPr>
            <a:lvl3pPr marL="0" indent="0" algn="l">
              <a:buNone/>
              <a:defRPr sz="2133">
                <a:solidFill>
                  <a:schemeClr val="tx1"/>
                </a:solidFill>
              </a:defRPr>
            </a:lvl3pPr>
            <a:lvl4pPr marL="0" indent="0" algn="l">
              <a:buNone/>
              <a:defRPr sz="1867">
                <a:solidFill>
                  <a:schemeClr val="tx1"/>
                </a:solidFill>
              </a:defRPr>
            </a:lvl4pPr>
            <a:lvl5pPr marL="0" indent="0" algn="l">
              <a:buNone/>
              <a:defRPr sz="1867">
                <a:solidFill>
                  <a:schemeClr val="tx1"/>
                </a:solidFill>
              </a:defRPr>
            </a:lvl5pPr>
          </a:lstStyle>
          <a:p>
            <a:pPr lvl="0"/>
            <a:r>
              <a:rPr lang="en-US" dirty="0"/>
              <a:t>Click to edit subtitle</a:t>
            </a:r>
          </a:p>
        </p:txBody>
      </p:sp>
      <p:grpSp>
        <p:nvGrpSpPr>
          <p:cNvPr id="43" name="Group 42">
            <a:extLst>
              <a:ext uri="{FF2B5EF4-FFF2-40B4-BE49-F238E27FC236}">
                <a16:creationId xmlns:a16="http://schemas.microsoft.com/office/drawing/2014/main" id="{90D373A4-AF55-4448-94E9-30DA609CE390}"/>
              </a:ext>
            </a:extLst>
          </p:cNvPr>
          <p:cNvGrpSpPr/>
          <p:nvPr userDrawn="1"/>
        </p:nvGrpSpPr>
        <p:grpSpPr>
          <a:xfrm>
            <a:off x="602395" y="514776"/>
            <a:ext cx="2875329" cy="1192983"/>
            <a:chOff x="602395" y="514776"/>
            <a:chExt cx="2875329" cy="1192983"/>
          </a:xfrm>
        </p:grpSpPr>
        <p:sp>
          <p:nvSpPr>
            <p:cNvPr id="44" name="Freeform 36">
              <a:extLst>
                <a:ext uri="{FF2B5EF4-FFF2-40B4-BE49-F238E27FC236}">
                  <a16:creationId xmlns:a16="http://schemas.microsoft.com/office/drawing/2014/main" id="{D8C766F7-ED5B-4F0F-97B2-6FA6AE63FF09}"/>
                </a:ext>
              </a:extLst>
            </p:cNvPr>
            <p:cNvSpPr>
              <a:spLocks noEditPoints="1"/>
            </p:cNvSpPr>
            <p:nvPr userDrawn="1"/>
          </p:nvSpPr>
          <p:spPr bwMode="auto">
            <a:xfrm>
              <a:off x="602395" y="514776"/>
              <a:ext cx="1665592" cy="1097757"/>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5" name="Freeform 37">
              <a:extLst>
                <a:ext uri="{FF2B5EF4-FFF2-40B4-BE49-F238E27FC236}">
                  <a16:creationId xmlns:a16="http://schemas.microsoft.com/office/drawing/2014/main" id="{CF8F8898-8D98-4771-8383-E4E6F7E42B98}"/>
                </a:ext>
              </a:extLst>
            </p:cNvPr>
            <p:cNvSpPr>
              <a:spLocks noEditPoints="1"/>
            </p:cNvSpPr>
            <p:nvPr userDrawn="1"/>
          </p:nvSpPr>
          <p:spPr bwMode="auto">
            <a:xfrm>
              <a:off x="2017578" y="770481"/>
              <a:ext cx="69657" cy="68775"/>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6" name="Freeform 38">
              <a:extLst>
                <a:ext uri="{FF2B5EF4-FFF2-40B4-BE49-F238E27FC236}">
                  <a16:creationId xmlns:a16="http://schemas.microsoft.com/office/drawing/2014/main" id="{98D79365-AD46-4401-92F9-6CD9B074B5B6}"/>
                </a:ext>
              </a:extLst>
            </p:cNvPr>
            <p:cNvSpPr>
              <a:spLocks noEditPoints="1"/>
            </p:cNvSpPr>
            <p:nvPr userDrawn="1"/>
          </p:nvSpPr>
          <p:spPr bwMode="auto">
            <a:xfrm>
              <a:off x="3407185" y="1533177"/>
              <a:ext cx="70539" cy="34387"/>
            </a:xfrm>
            <a:custGeom>
              <a:avLst/>
              <a:gdLst>
                <a:gd name="T0" fmla="*/ 83 w 160"/>
                <a:gd name="T1" fmla="*/ 0 h 79"/>
                <a:gd name="T2" fmla="*/ 97 w 160"/>
                <a:gd name="T3" fmla="*/ 0 h 79"/>
                <a:gd name="T4" fmla="*/ 123 w 160"/>
                <a:gd name="T5" fmla="*/ 45 h 79"/>
                <a:gd name="T6" fmla="*/ 146 w 160"/>
                <a:gd name="T7" fmla="*/ 0 h 79"/>
                <a:gd name="T8" fmla="*/ 160 w 160"/>
                <a:gd name="T9" fmla="*/ 0 h 79"/>
                <a:gd name="T10" fmla="*/ 160 w 160"/>
                <a:gd name="T11" fmla="*/ 79 h 79"/>
                <a:gd name="T12" fmla="*/ 146 w 160"/>
                <a:gd name="T13" fmla="*/ 79 h 79"/>
                <a:gd name="T14" fmla="*/ 146 w 160"/>
                <a:gd name="T15" fmla="*/ 25 h 79"/>
                <a:gd name="T16" fmla="*/ 128 w 160"/>
                <a:gd name="T17" fmla="*/ 59 h 79"/>
                <a:gd name="T18" fmla="*/ 115 w 160"/>
                <a:gd name="T19" fmla="*/ 59 h 79"/>
                <a:gd name="T20" fmla="*/ 97 w 160"/>
                <a:gd name="T21" fmla="*/ 25 h 79"/>
                <a:gd name="T22" fmla="*/ 97 w 160"/>
                <a:gd name="T23" fmla="*/ 79 h 79"/>
                <a:gd name="T24" fmla="*/ 83 w 160"/>
                <a:gd name="T25" fmla="*/ 79 h 79"/>
                <a:gd name="T26" fmla="*/ 83 w 160"/>
                <a:gd name="T27" fmla="*/ 0 h 79"/>
                <a:gd name="T28" fmla="*/ 0 w 160"/>
                <a:gd name="T29" fmla="*/ 0 h 79"/>
                <a:gd name="T30" fmla="*/ 69 w 160"/>
                <a:gd name="T31" fmla="*/ 0 h 79"/>
                <a:gd name="T32" fmla="*/ 69 w 160"/>
                <a:gd name="T33" fmla="*/ 14 h 79"/>
                <a:gd name="T34" fmla="*/ 41 w 160"/>
                <a:gd name="T35" fmla="*/ 14 h 79"/>
                <a:gd name="T36" fmla="*/ 41 w 160"/>
                <a:gd name="T37" fmla="*/ 79 h 79"/>
                <a:gd name="T38" fmla="*/ 27 w 160"/>
                <a:gd name="T39" fmla="*/ 79 h 79"/>
                <a:gd name="T40" fmla="*/ 27 w 160"/>
                <a:gd name="T41" fmla="*/ 14 h 79"/>
                <a:gd name="T42" fmla="*/ 0 w 160"/>
                <a:gd name="T43" fmla="*/ 14 h 79"/>
                <a:gd name="T44" fmla="*/ 0 w 160"/>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79">
                  <a:moveTo>
                    <a:pt x="83" y="0"/>
                  </a:moveTo>
                  <a:lnTo>
                    <a:pt x="97" y="0"/>
                  </a:lnTo>
                  <a:lnTo>
                    <a:pt x="123" y="45"/>
                  </a:lnTo>
                  <a:lnTo>
                    <a:pt x="146" y="0"/>
                  </a:lnTo>
                  <a:lnTo>
                    <a:pt x="160" y="0"/>
                  </a:lnTo>
                  <a:lnTo>
                    <a:pt x="160" y="79"/>
                  </a:lnTo>
                  <a:lnTo>
                    <a:pt x="146" y="79"/>
                  </a:lnTo>
                  <a:lnTo>
                    <a:pt x="146" y="25"/>
                  </a:lnTo>
                  <a:lnTo>
                    <a:pt x="128" y="59"/>
                  </a:lnTo>
                  <a:lnTo>
                    <a:pt x="115" y="59"/>
                  </a:lnTo>
                  <a:lnTo>
                    <a:pt x="97" y="25"/>
                  </a:lnTo>
                  <a:lnTo>
                    <a:pt x="97" y="79"/>
                  </a:lnTo>
                  <a:lnTo>
                    <a:pt x="83" y="79"/>
                  </a:lnTo>
                  <a:lnTo>
                    <a:pt x="83" y="0"/>
                  </a:lnTo>
                  <a:close/>
                  <a:moveTo>
                    <a:pt x="0" y="0"/>
                  </a:moveTo>
                  <a:lnTo>
                    <a:pt x="69" y="0"/>
                  </a:lnTo>
                  <a:lnTo>
                    <a:pt x="69" y="14"/>
                  </a:lnTo>
                  <a:lnTo>
                    <a:pt x="41" y="14"/>
                  </a:lnTo>
                  <a:lnTo>
                    <a:pt x="41" y="79"/>
                  </a:lnTo>
                  <a:lnTo>
                    <a:pt x="27" y="79"/>
                  </a:lnTo>
                  <a:lnTo>
                    <a:pt x="27" y="14"/>
                  </a:lnTo>
                  <a:lnTo>
                    <a:pt x="0" y="14"/>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7" name="Freeform 39">
              <a:extLst>
                <a:ext uri="{FF2B5EF4-FFF2-40B4-BE49-F238E27FC236}">
                  <a16:creationId xmlns:a16="http://schemas.microsoft.com/office/drawing/2014/main" id="{3DAE6691-D9AD-4FDB-A0C6-EFF7B4B35A7A}"/>
                </a:ext>
              </a:extLst>
            </p:cNvPr>
            <p:cNvSpPr>
              <a:spLocks noEditPoints="1"/>
            </p:cNvSpPr>
            <p:nvPr userDrawn="1"/>
          </p:nvSpPr>
          <p:spPr bwMode="auto">
            <a:xfrm>
              <a:off x="2118975" y="1310097"/>
              <a:ext cx="113744" cy="134024"/>
            </a:xfrm>
            <a:custGeom>
              <a:avLst/>
              <a:gdLst>
                <a:gd name="T0" fmla="*/ 141 w 258"/>
                <a:gd name="T1" fmla="*/ 42 h 304"/>
                <a:gd name="T2" fmla="*/ 117 w 258"/>
                <a:gd name="T3" fmla="*/ 46 h 304"/>
                <a:gd name="T4" fmla="*/ 98 w 258"/>
                <a:gd name="T5" fmla="*/ 52 h 304"/>
                <a:gd name="T6" fmla="*/ 82 w 258"/>
                <a:gd name="T7" fmla="*/ 66 h 304"/>
                <a:gd name="T8" fmla="*/ 68 w 258"/>
                <a:gd name="T9" fmla="*/ 82 h 304"/>
                <a:gd name="T10" fmla="*/ 58 w 258"/>
                <a:gd name="T11" fmla="*/ 101 h 304"/>
                <a:gd name="T12" fmla="*/ 54 w 258"/>
                <a:gd name="T13" fmla="*/ 125 h 304"/>
                <a:gd name="T14" fmla="*/ 211 w 258"/>
                <a:gd name="T15" fmla="*/ 125 h 304"/>
                <a:gd name="T16" fmla="*/ 211 w 258"/>
                <a:gd name="T17" fmla="*/ 119 h 304"/>
                <a:gd name="T18" fmla="*/ 209 w 258"/>
                <a:gd name="T19" fmla="*/ 97 h 304"/>
                <a:gd name="T20" fmla="*/ 203 w 258"/>
                <a:gd name="T21" fmla="*/ 78 h 304"/>
                <a:gd name="T22" fmla="*/ 193 w 258"/>
                <a:gd name="T23" fmla="*/ 64 h 304"/>
                <a:gd name="T24" fmla="*/ 179 w 258"/>
                <a:gd name="T25" fmla="*/ 52 h 304"/>
                <a:gd name="T26" fmla="*/ 161 w 258"/>
                <a:gd name="T27" fmla="*/ 46 h 304"/>
                <a:gd name="T28" fmla="*/ 141 w 258"/>
                <a:gd name="T29" fmla="*/ 42 h 304"/>
                <a:gd name="T30" fmla="*/ 139 w 258"/>
                <a:gd name="T31" fmla="*/ 0 h 304"/>
                <a:gd name="T32" fmla="*/ 167 w 258"/>
                <a:gd name="T33" fmla="*/ 2 h 304"/>
                <a:gd name="T34" fmla="*/ 191 w 258"/>
                <a:gd name="T35" fmla="*/ 10 h 304"/>
                <a:gd name="T36" fmla="*/ 211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2 w 258"/>
                <a:gd name="T51" fmla="*/ 165 h 304"/>
                <a:gd name="T52" fmla="*/ 58 w 258"/>
                <a:gd name="T53" fmla="*/ 193 h 304"/>
                <a:gd name="T54" fmla="*/ 66 w 258"/>
                <a:gd name="T55" fmla="*/ 216 h 304"/>
                <a:gd name="T56" fmla="*/ 80 w 258"/>
                <a:gd name="T57" fmla="*/ 234 h 304"/>
                <a:gd name="T58" fmla="*/ 100 w 258"/>
                <a:gd name="T59" fmla="*/ 248 h 304"/>
                <a:gd name="T60" fmla="*/ 123 w 258"/>
                <a:gd name="T61" fmla="*/ 256 h 304"/>
                <a:gd name="T62" fmla="*/ 153 w 258"/>
                <a:gd name="T63" fmla="*/ 260 h 304"/>
                <a:gd name="T64" fmla="*/ 181 w 258"/>
                <a:gd name="T65" fmla="*/ 256 h 304"/>
                <a:gd name="T66" fmla="*/ 205 w 258"/>
                <a:gd name="T67" fmla="*/ 248 h 304"/>
                <a:gd name="T68" fmla="*/ 226 w 258"/>
                <a:gd name="T69" fmla="*/ 236 h 304"/>
                <a:gd name="T70" fmla="*/ 248 w 258"/>
                <a:gd name="T71" fmla="*/ 270 h 304"/>
                <a:gd name="T72" fmla="*/ 226 w 258"/>
                <a:gd name="T73" fmla="*/ 286 h 304"/>
                <a:gd name="T74" fmla="*/ 203 w 258"/>
                <a:gd name="T75" fmla="*/ 296 h 304"/>
                <a:gd name="T76" fmla="*/ 177 w 258"/>
                <a:gd name="T77" fmla="*/ 302 h 304"/>
                <a:gd name="T78" fmla="*/ 147 w 258"/>
                <a:gd name="T79" fmla="*/ 304 h 304"/>
                <a:gd name="T80" fmla="*/ 115 w 258"/>
                <a:gd name="T81" fmla="*/ 302 h 304"/>
                <a:gd name="T82" fmla="*/ 88 w 258"/>
                <a:gd name="T83" fmla="*/ 294 h 304"/>
                <a:gd name="T84" fmla="*/ 62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2 w 258"/>
                <a:gd name="T105" fmla="*/ 22 h 304"/>
                <a:gd name="T106" fmla="*/ 84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8" y="52"/>
                  </a:lnTo>
                  <a:lnTo>
                    <a:pt x="82" y="66"/>
                  </a:lnTo>
                  <a:lnTo>
                    <a:pt x="68" y="82"/>
                  </a:lnTo>
                  <a:lnTo>
                    <a:pt x="58" y="101"/>
                  </a:lnTo>
                  <a:lnTo>
                    <a:pt x="54" y="125"/>
                  </a:lnTo>
                  <a:lnTo>
                    <a:pt x="211" y="125"/>
                  </a:lnTo>
                  <a:lnTo>
                    <a:pt x="211" y="119"/>
                  </a:lnTo>
                  <a:lnTo>
                    <a:pt x="209" y="97"/>
                  </a:lnTo>
                  <a:lnTo>
                    <a:pt x="203" y="78"/>
                  </a:lnTo>
                  <a:lnTo>
                    <a:pt x="193" y="64"/>
                  </a:lnTo>
                  <a:lnTo>
                    <a:pt x="179" y="52"/>
                  </a:lnTo>
                  <a:lnTo>
                    <a:pt x="161" y="46"/>
                  </a:lnTo>
                  <a:lnTo>
                    <a:pt x="141" y="42"/>
                  </a:lnTo>
                  <a:close/>
                  <a:moveTo>
                    <a:pt x="139" y="0"/>
                  </a:moveTo>
                  <a:lnTo>
                    <a:pt x="167" y="2"/>
                  </a:lnTo>
                  <a:lnTo>
                    <a:pt x="191" y="10"/>
                  </a:lnTo>
                  <a:lnTo>
                    <a:pt x="211" y="20"/>
                  </a:lnTo>
                  <a:lnTo>
                    <a:pt x="228" y="36"/>
                  </a:lnTo>
                  <a:lnTo>
                    <a:pt x="240" y="56"/>
                  </a:lnTo>
                  <a:lnTo>
                    <a:pt x="250" y="78"/>
                  </a:lnTo>
                  <a:lnTo>
                    <a:pt x="256" y="103"/>
                  </a:lnTo>
                  <a:lnTo>
                    <a:pt x="258" y="129"/>
                  </a:lnTo>
                  <a:lnTo>
                    <a:pt x="256" y="165"/>
                  </a:lnTo>
                  <a:lnTo>
                    <a:pt x="52" y="165"/>
                  </a:lnTo>
                  <a:lnTo>
                    <a:pt x="58" y="193"/>
                  </a:lnTo>
                  <a:lnTo>
                    <a:pt x="66" y="216"/>
                  </a:lnTo>
                  <a:lnTo>
                    <a:pt x="80" y="234"/>
                  </a:lnTo>
                  <a:lnTo>
                    <a:pt x="100" y="248"/>
                  </a:lnTo>
                  <a:lnTo>
                    <a:pt x="123" y="256"/>
                  </a:lnTo>
                  <a:lnTo>
                    <a:pt x="153" y="260"/>
                  </a:lnTo>
                  <a:lnTo>
                    <a:pt x="181" y="256"/>
                  </a:lnTo>
                  <a:lnTo>
                    <a:pt x="205" y="248"/>
                  </a:lnTo>
                  <a:lnTo>
                    <a:pt x="226" y="236"/>
                  </a:lnTo>
                  <a:lnTo>
                    <a:pt x="248" y="270"/>
                  </a:lnTo>
                  <a:lnTo>
                    <a:pt x="226" y="286"/>
                  </a:lnTo>
                  <a:lnTo>
                    <a:pt x="203" y="296"/>
                  </a:lnTo>
                  <a:lnTo>
                    <a:pt x="177" y="302"/>
                  </a:lnTo>
                  <a:lnTo>
                    <a:pt x="147" y="304"/>
                  </a:lnTo>
                  <a:lnTo>
                    <a:pt x="115" y="302"/>
                  </a:lnTo>
                  <a:lnTo>
                    <a:pt x="88" y="294"/>
                  </a:lnTo>
                  <a:lnTo>
                    <a:pt x="62" y="282"/>
                  </a:lnTo>
                  <a:lnTo>
                    <a:pt x="42" y="264"/>
                  </a:lnTo>
                  <a:lnTo>
                    <a:pt x="24" y="242"/>
                  </a:lnTo>
                  <a:lnTo>
                    <a:pt x="12" y="216"/>
                  </a:lnTo>
                  <a:lnTo>
                    <a:pt x="4" y="185"/>
                  </a:lnTo>
                  <a:lnTo>
                    <a:pt x="0" y="149"/>
                  </a:lnTo>
                  <a:lnTo>
                    <a:pt x="4" y="115"/>
                  </a:lnTo>
                  <a:lnTo>
                    <a:pt x="12" y="86"/>
                  </a:lnTo>
                  <a:lnTo>
                    <a:pt x="24" y="60"/>
                  </a:lnTo>
                  <a:lnTo>
                    <a:pt x="40" y="40"/>
                  </a:lnTo>
                  <a:lnTo>
                    <a:pt x="62" y="22"/>
                  </a:lnTo>
                  <a:lnTo>
                    <a:pt x="84"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8" name="Freeform 40">
              <a:extLst>
                <a:ext uri="{FF2B5EF4-FFF2-40B4-BE49-F238E27FC236}">
                  <a16:creationId xmlns:a16="http://schemas.microsoft.com/office/drawing/2014/main" id="{84AB6B3B-7E82-4282-8BCE-222F19A9FB4D}"/>
                </a:ext>
              </a:extLst>
            </p:cNvPr>
            <p:cNvSpPr>
              <a:spLocks/>
            </p:cNvSpPr>
            <p:nvPr userDrawn="1"/>
          </p:nvSpPr>
          <p:spPr bwMode="auto">
            <a:xfrm>
              <a:off x="2245063" y="1313628"/>
              <a:ext cx="119916" cy="126969"/>
            </a:xfrm>
            <a:custGeom>
              <a:avLst/>
              <a:gdLst>
                <a:gd name="T0" fmla="*/ 6 w 271"/>
                <a:gd name="T1" fmla="*/ 0 h 288"/>
                <a:gd name="T2" fmla="*/ 65 w 271"/>
                <a:gd name="T3" fmla="*/ 0 h 288"/>
                <a:gd name="T4" fmla="*/ 137 w 271"/>
                <a:gd name="T5" fmla="*/ 105 h 288"/>
                <a:gd name="T6" fmla="*/ 208 w 271"/>
                <a:gd name="T7" fmla="*/ 0 h 288"/>
                <a:gd name="T8" fmla="*/ 263 w 271"/>
                <a:gd name="T9" fmla="*/ 0 h 288"/>
                <a:gd name="T10" fmla="*/ 164 w 271"/>
                <a:gd name="T11" fmla="*/ 141 h 288"/>
                <a:gd name="T12" fmla="*/ 271 w 271"/>
                <a:gd name="T13" fmla="*/ 288 h 288"/>
                <a:gd name="T14" fmla="*/ 212 w 271"/>
                <a:gd name="T15" fmla="*/ 288 h 288"/>
                <a:gd name="T16" fmla="*/ 135 w 271"/>
                <a:gd name="T17" fmla="*/ 177 h 288"/>
                <a:gd name="T18" fmla="*/ 55 w 271"/>
                <a:gd name="T19" fmla="*/ 288 h 288"/>
                <a:gd name="T20" fmla="*/ 0 w 271"/>
                <a:gd name="T21" fmla="*/ 288 h 288"/>
                <a:gd name="T22" fmla="*/ 107 w 271"/>
                <a:gd name="T23" fmla="*/ 141 h 288"/>
                <a:gd name="T24" fmla="*/ 6 w 271"/>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88">
                  <a:moveTo>
                    <a:pt x="6" y="0"/>
                  </a:moveTo>
                  <a:lnTo>
                    <a:pt x="65" y="0"/>
                  </a:lnTo>
                  <a:lnTo>
                    <a:pt x="137" y="105"/>
                  </a:lnTo>
                  <a:lnTo>
                    <a:pt x="208" y="0"/>
                  </a:lnTo>
                  <a:lnTo>
                    <a:pt x="263" y="0"/>
                  </a:lnTo>
                  <a:lnTo>
                    <a:pt x="164" y="141"/>
                  </a:lnTo>
                  <a:lnTo>
                    <a:pt x="271" y="288"/>
                  </a:lnTo>
                  <a:lnTo>
                    <a:pt x="212" y="288"/>
                  </a:lnTo>
                  <a:lnTo>
                    <a:pt x="135" y="177"/>
                  </a:lnTo>
                  <a:lnTo>
                    <a:pt x="55" y="288"/>
                  </a:lnTo>
                  <a:lnTo>
                    <a:pt x="0" y="288"/>
                  </a:lnTo>
                  <a:lnTo>
                    <a:pt x="107" y="141"/>
                  </a:lnTo>
                  <a:lnTo>
                    <a:pt x="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9" name="Freeform 41">
              <a:extLst>
                <a:ext uri="{FF2B5EF4-FFF2-40B4-BE49-F238E27FC236}">
                  <a16:creationId xmlns:a16="http://schemas.microsoft.com/office/drawing/2014/main" id="{7F5D90C0-5DD4-48BD-A8D6-235C63E57720}"/>
                </a:ext>
              </a:extLst>
            </p:cNvPr>
            <p:cNvSpPr>
              <a:spLocks noEditPoints="1"/>
            </p:cNvSpPr>
            <p:nvPr userDrawn="1"/>
          </p:nvSpPr>
          <p:spPr bwMode="auto">
            <a:xfrm>
              <a:off x="2382616" y="1310097"/>
              <a:ext cx="122561" cy="183400"/>
            </a:xfrm>
            <a:custGeom>
              <a:avLst/>
              <a:gdLst>
                <a:gd name="T0" fmla="*/ 143 w 277"/>
                <a:gd name="T1" fmla="*/ 44 h 417"/>
                <a:gd name="T2" fmla="*/ 115 w 277"/>
                <a:gd name="T3" fmla="*/ 48 h 417"/>
                <a:gd name="T4" fmla="*/ 93 w 277"/>
                <a:gd name="T5" fmla="*/ 58 h 417"/>
                <a:gd name="T6" fmla="*/ 75 w 277"/>
                <a:gd name="T7" fmla="*/ 74 h 417"/>
                <a:gd name="T8" fmla="*/ 61 w 277"/>
                <a:gd name="T9" fmla="*/ 97 h 417"/>
                <a:gd name="T10" fmla="*/ 53 w 277"/>
                <a:gd name="T11" fmla="*/ 123 h 417"/>
                <a:gd name="T12" fmla="*/ 51 w 277"/>
                <a:gd name="T13" fmla="*/ 155 h 417"/>
                <a:gd name="T14" fmla="*/ 53 w 277"/>
                <a:gd name="T15" fmla="*/ 185 h 417"/>
                <a:gd name="T16" fmla="*/ 61 w 277"/>
                <a:gd name="T17" fmla="*/ 210 h 417"/>
                <a:gd name="T18" fmla="*/ 73 w 277"/>
                <a:gd name="T19" fmla="*/ 232 h 417"/>
                <a:gd name="T20" fmla="*/ 91 w 277"/>
                <a:gd name="T21" fmla="*/ 246 h 417"/>
                <a:gd name="T22" fmla="*/ 113 w 277"/>
                <a:gd name="T23" fmla="*/ 256 h 417"/>
                <a:gd name="T24" fmla="*/ 137 w 277"/>
                <a:gd name="T25" fmla="*/ 260 h 417"/>
                <a:gd name="T26" fmla="*/ 162 w 277"/>
                <a:gd name="T27" fmla="*/ 256 h 417"/>
                <a:gd name="T28" fmla="*/ 184 w 277"/>
                <a:gd name="T29" fmla="*/ 246 h 417"/>
                <a:gd name="T30" fmla="*/ 200 w 277"/>
                <a:gd name="T31" fmla="*/ 230 h 417"/>
                <a:gd name="T32" fmla="*/ 214 w 277"/>
                <a:gd name="T33" fmla="*/ 208 h 417"/>
                <a:gd name="T34" fmla="*/ 220 w 277"/>
                <a:gd name="T35" fmla="*/ 181 h 417"/>
                <a:gd name="T36" fmla="*/ 224 w 277"/>
                <a:gd name="T37" fmla="*/ 149 h 417"/>
                <a:gd name="T38" fmla="*/ 220 w 277"/>
                <a:gd name="T39" fmla="*/ 117 h 417"/>
                <a:gd name="T40" fmla="*/ 214 w 277"/>
                <a:gd name="T41" fmla="*/ 92 h 417"/>
                <a:gd name="T42" fmla="*/ 202 w 277"/>
                <a:gd name="T43" fmla="*/ 72 h 417"/>
                <a:gd name="T44" fmla="*/ 186 w 277"/>
                <a:gd name="T45" fmla="*/ 56 h 417"/>
                <a:gd name="T46" fmla="*/ 166 w 277"/>
                <a:gd name="T47" fmla="*/ 48 h 417"/>
                <a:gd name="T48" fmla="*/ 143 w 277"/>
                <a:gd name="T49" fmla="*/ 44 h 417"/>
                <a:gd name="T50" fmla="*/ 153 w 277"/>
                <a:gd name="T51" fmla="*/ 0 h 417"/>
                <a:gd name="T52" fmla="*/ 180 w 277"/>
                <a:gd name="T53" fmla="*/ 2 h 417"/>
                <a:gd name="T54" fmla="*/ 206 w 277"/>
                <a:gd name="T55" fmla="*/ 10 h 417"/>
                <a:gd name="T56" fmla="*/ 226 w 277"/>
                <a:gd name="T57" fmla="*/ 24 h 417"/>
                <a:gd name="T58" fmla="*/ 244 w 277"/>
                <a:gd name="T59" fmla="*/ 40 h 417"/>
                <a:gd name="T60" fmla="*/ 258 w 277"/>
                <a:gd name="T61" fmla="*/ 62 h 417"/>
                <a:gd name="T62" fmla="*/ 267 w 277"/>
                <a:gd name="T63" fmla="*/ 86 h 417"/>
                <a:gd name="T64" fmla="*/ 275 w 277"/>
                <a:gd name="T65" fmla="*/ 115 h 417"/>
                <a:gd name="T66" fmla="*/ 277 w 277"/>
                <a:gd name="T67" fmla="*/ 147 h 417"/>
                <a:gd name="T68" fmla="*/ 275 w 277"/>
                <a:gd name="T69" fmla="*/ 179 h 417"/>
                <a:gd name="T70" fmla="*/ 267 w 277"/>
                <a:gd name="T71" fmla="*/ 208 h 417"/>
                <a:gd name="T72" fmla="*/ 258 w 277"/>
                <a:gd name="T73" fmla="*/ 236 h 417"/>
                <a:gd name="T74" fmla="*/ 242 w 277"/>
                <a:gd name="T75" fmla="*/ 260 h 417"/>
                <a:gd name="T76" fmla="*/ 224 w 277"/>
                <a:gd name="T77" fmla="*/ 278 h 417"/>
                <a:gd name="T78" fmla="*/ 200 w 277"/>
                <a:gd name="T79" fmla="*/ 292 h 417"/>
                <a:gd name="T80" fmla="*/ 174 w 277"/>
                <a:gd name="T81" fmla="*/ 302 h 417"/>
                <a:gd name="T82" fmla="*/ 145 w 277"/>
                <a:gd name="T83" fmla="*/ 304 h 417"/>
                <a:gd name="T84" fmla="*/ 115 w 277"/>
                <a:gd name="T85" fmla="*/ 302 h 417"/>
                <a:gd name="T86" fmla="*/ 89 w 277"/>
                <a:gd name="T87" fmla="*/ 292 h 417"/>
                <a:gd name="T88" fmla="*/ 67 w 277"/>
                <a:gd name="T89" fmla="*/ 276 h 417"/>
                <a:gd name="T90" fmla="*/ 51 w 277"/>
                <a:gd name="T91" fmla="*/ 256 h 417"/>
                <a:gd name="T92" fmla="*/ 51 w 277"/>
                <a:gd name="T93" fmla="*/ 417 h 417"/>
                <a:gd name="T94" fmla="*/ 0 w 277"/>
                <a:gd name="T95" fmla="*/ 417 h 417"/>
                <a:gd name="T96" fmla="*/ 0 w 277"/>
                <a:gd name="T97" fmla="*/ 8 h 417"/>
                <a:gd name="T98" fmla="*/ 28 w 277"/>
                <a:gd name="T99" fmla="*/ 8 h 417"/>
                <a:gd name="T100" fmla="*/ 36 w 277"/>
                <a:gd name="T101" fmla="*/ 8 h 417"/>
                <a:gd name="T102" fmla="*/ 42 w 277"/>
                <a:gd name="T103" fmla="*/ 10 h 417"/>
                <a:gd name="T104" fmla="*/ 48 w 277"/>
                <a:gd name="T105" fmla="*/ 14 h 417"/>
                <a:gd name="T106" fmla="*/ 49 w 277"/>
                <a:gd name="T107" fmla="*/ 20 h 417"/>
                <a:gd name="T108" fmla="*/ 51 w 277"/>
                <a:gd name="T109" fmla="*/ 28 h 417"/>
                <a:gd name="T110" fmla="*/ 51 w 277"/>
                <a:gd name="T111" fmla="*/ 52 h 417"/>
                <a:gd name="T112" fmla="*/ 67 w 277"/>
                <a:gd name="T113" fmla="*/ 30 h 417"/>
                <a:gd name="T114" fmla="*/ 91 w 277"/>
                <a:gd name="T115" fmla="*/ 14 h 417"/>
                <a:gd name="T116" fmla="*/ 119 w 277"/>
                <a:gd name="T117" fmla="*/ 4 h 417"/>
                <a:gd name="T118" fmla="*/ 153 w 277"/>
                <a:gd name="T119"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7" h="417">
                  <a:moveTo>
                    <a:pt x="143" y="44"/>
                  </a:moveTo>
                  <a:lnTo>
                    <a:pt x="115" y="48"/>
                  </a:lnTo>
                  <a:lnTo>
                    <a:pt x="93" y="58"/>
                  </a:lnTo>
                  <a:lnTo>
                    <a:pt x="75" y="74"/>
                  </a:lnTo>
                  <a:lnTo>
                    <a:pt x="61" y="97"/>
                  </a:lnTo>
                  <a:lnTo>
                    <a:pt x="53" y="123"/>
                  </a:lnTo>
                  <a:lnTo>
                    <a:pt x="51" y="155"/>
                  </a:lnTo>
                  <a:lnTo>
                    <a:pt x="53" y="185"/>
                  </a:lnTo>
                  <a:lnTo>
                    <a:pt x="61" y="210"/>
                  </a:lnTo>
                  <a:lnTo>
                    <a:pt x="73" y="232"/>
                  </a:lnTo>
                  <a:lnTo>
                    <a:pt x="91" y="246"/>
                  </a:lnTo>
                  <a:lnTo>
                    <a:pt x="113" y="256"/>
                  </a:lnTo>
                  <a:lnTo>
                    <a:pt x="137" y="260"/>
                  </a:lnTo>
                  <a:lnTo>
                    <a:pt x="162" y="256"/>
                  </a:lnTo>
                  <a:lnTo>
                    <a:pt x="184" y="246"/>
                  </a:lnTo>
                  <a:lnTo>
                    <a:pt x="200" y="230"/>
                  </a:lnTo>
                  <a:lnTo>
                    <a:pt x="214" y="208"/>
                  </a:lnTo>
                  <a:lnTo>
                    <a:pt x="220" y="181"/>
                  </a:lnTo>
                  <a:lnTo>
                    <a:pt x="224" y="149"/>
                  </a:lnTo>
                  <a:lnTo>
                    <a:pt x="220" y="117"/>
                  </a:lnTo>
                  <a:lnTo>
                    <a:pt x="214" y="92"/>
                  </a:lnTo>
                  <a:lnTo>
                    <a:pt x="202" y="72"/>
                  </a:lnTo>
                  <a:lnTo>
                    <a:pt x="186" y="56"/>
                  </a:lnTo>
                  <a:lnTo>
                    <a:pt x="166" y="48"/>
                  </a:lnTo>
                  <a:lnTo>
                    <a:pt x="143" y="44"/>
                  </a:lnTo>
                  <a:close/>
                  <a:moveTo>
                    <a:pt x="153" y="0"/>
                  </a:moveTo>
                  <a:lnTo>
                    <a:pt x="180" y="2"/>
                  </a:lnTo>
                  <a:lnTo>
                    <a:pt x="206" y="10"/>
                  </a:lnTo>
                  <a:lnTo>
                    <a:pt x="226" y="24"/>
                  </a:lnTo>
                  <a:lnTo>
                    <a:pt x="244" y="40"/>
                  </a:lnTo>
                  <a:lnTo>
                    <a:pt x="258" y="62"/>
                  </a:lnTo>
                  <a:lnTo>
                    <a:pt x="267" y="86"/>
                  </a:lnTo>
                  <a:lnTo>
                    <a:pt x="275" y="115"/>
                  </a:lnTo>
                  <a:lnTo>
                    <a:pt x="277" y="147"/>
                  </a:lnTo>
                  <a:lnTo>
                    <a:pt x="275" y="179"/>
                  </a:lnTo>
                  <a:lnTo>
                    <a:pt x="267" y="208"/>
                  </a:lnTo>
                  <a:lnTo>
                    <a:pt x="258" y="236"/>
                  </a:lnTo>
                  <a:lnTo>
                    <a:pt x="242" y="260"/>
                  </a:lnTo>
                  <a:lnTo>
                    <a:pt x="224" y="278"/>
                  </a:lnTo>
                  <a:lnTo>
                    <a:pt x="200" y="292"/>
                  </a:lnTo>
                  <a:lnTo>
                    <a:pt x="174" y="302"/>
                  </a:lnTo>
                  <a:lnTo>
                    <a:pt x="145" y="304"/>
                  </a:lnTo>
                  <a:lnTo>
                    <a:pt x="115" y="302"/>
                  </a:lnTo>
                  <a:lnTo>
                    <a:pt x="89" y="292"/>
                  </a:lnTo>
                  <a:lnTo>
                    <a:pt x="67" y="276"/>
                  </a:lnTo>
                  <a:lnTo>
                    <a:pt x="51" y="256"/>
                  </a:lnTo>
                  <a:lnTo>
                    <a:pt x="51" y="417"/>
                  </a:lnTo>
                  <a:lnTo>
                    <a:pt x="0" y="417"/>
                  </a:lnTo>
                  <a:lnTo>
                    <a:pt x="0" y="8"/>
                  </a:lnTo>
                  <a:lnTo>
                    <a:pt x="28" y="8"/>
                  </a:lnTo>
                  <a:lnTo>
                    <a:pt x="36" y="8"/>
                  </a:lnTo>
                  <a:lnTo>
                    <a:pt x="42" y="10"/>
                  </a:lnTo>
                  <a:lnTo>
                    <a:pt x="48" y="14"/>
                  </a:lnTo>
                  <a:lnTo>
                    <a:pt x="49" y="20"/>
                  </a:lnTo>
                  <a:lnTo>
                    <a:pt x="51" y="28"/>
                  </a:lnTo>
                  <a:lnTo>
                    <a:pt x="51" y="52"/>
                  </a:lnTo>
                  <a:lnTo>
                    <a:pt x="67" y="30"/>
                  </a:lnTo>
                  <a:lnTo>
                    <a:pt x="91" y="14"/>
                  </a:lnTo>
                  <a:lnTo>
                    <a:pt x="119" y="4"/>
                  </a:lnTo>
                  <a:lnTo>
                    <a:pt x="153"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0" name="Freeform 42">
              <a:extLst>
                <a:ext uri="{FF2B5EF4-FFF2-40B4-BE49-F238E27FC236}">
                  <a16:creationId xmlns:a16="http://schemas.microsoft.com/office/drawing/2014/main" id="{036B7B57-E9DB-46E2-AD93-5C98D0069B59}"/>
                </a:ext>
              </a:extLst>
            </p:cNvPr>
            <p:cNvSpPr>
              <a:spLocks noEditPoints="1"/>
            </p:cNvSpPr>
            <p:nvPr userDrawn="1"/>
          </p:nvSpPr>
          <p:spPr bwMode="auto">
            <a:xfrm>
              <a:off x="2526335" y="1310097"/>
              <a:ext cx="113744" cy="134024"/>
            </a:xfrm>
            <a:custGeom>
              <a:avLst/>
              <a:gdLst>
                <a:gd name="T0" fmla="*/ 141 w 258"/>
                <a:gd name="T1" fmla="*/ 42 h 304"/>
                <a:gd name="T2" fmla="*/ 117 w 258"/>
                <a:gd name="T3" fmla="*/ 46 h 304"/>
                <a:gd name="T4" fmla="*/ 97 w 258"/>
                <a:gd name="T5" fmla="*/ 52 h 304"/>
                <a:gd name="T6" fmla="*/ 81 w 258"/>
                <a:gd name="T7" fmla="*/ 66 h 304"/>
                <a:gd name="T8" fmla="*/ 67 w 258"/>
                <a:gd name="T9" fmla="*/ 82 h 304"/>
                <a:gd name="T10" fmla="*/ 57 w 258"/>
                <a:gd name="T11" fmla="*/ 101 h 304"/>
                <a:gd name="T12" fmla="*/ 53 w 258"/>
                <a:gd name="T13" fmla="*/ 125 h 304"/>
                <a:gd name="T14" fmla="*/ 210 w 258"/>
                <a:gd name="T15" fmla="*/ 125 h 304"/>
                <a:gd name="T16" fmla="*/ 210 w 258"/>
                <a:gd name="T17" fmla="*/ 119 h 304"/>
                <a:gd name="T18" fmla="*/ 208 w 258"/>
                <a:gd name="T19" fmla="*/ 97 h 304"/>
                <a:gd name="T20" fmla="*/ 200 w 258"/>
                <a:gd name="T21" fmla="*/ 78 h 304"/>
                <a:gd name="T22" fmla="*/ 190 w 258"/>
                <a:gd name="T23" fmla="*/ 64 h 304"/>
                <a:gd name="T24" fmla="*/ 178 w 258"/>
                <a:gd name="T25" fmla="*/ 52 h 304"/>
                <a:gd name="T26" fmla="*/ 160 w 258"/>
                <a:gd name="T27" fmla="*/ 46 h 304"/>
                <a:gd name="T28" fmla="*/ 141 w 258"/>
                <a:gd name="T29" fmla="*/ 42 h 304"/>
                <a:gd name="T30" fmla="*/ 139 w 258"/>
                <a:gd name="T31" fmla="*/ 0 h 304"/>
                <a:gd name="T32" fmla="*/ 166 w 258"/>
                <a:gd name="T33" fmla="*/ 2 h 304"/>
                <a:gd name="T34" fmla="*/ 190 w 258"/>
                <a:gd name="T35" fmla="*/ 10 h 304"/>
                <a:gd name="T36" fmla="*/ 210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1 w 258"/>
                <a:gd name="T51" fmla="*/ 165 h 304"/>
                <a:gd name="T52" fmla="*/ 57 w 258"/>
                <a:gd name="T53" fmla="*/ 193 h 304"/>
                <a:gd name="T54" fmla="*/ 65 w 258"/>
                <a:gd name="T55" fmla="*/ 216 h 304"/>
                <a:gd name="T56" fmla="*/ 79 w 258"/>
                <a:gd name="T57" fmla="*/ 234 h 304"/>
                <a:gd name="T58" fmla="*/ 99 w 258"/>
                <a:gd name="T59" fmla="*/ 248 h 304"/>
                <a:gd name="T60" fmla="*/ 123 w 258"/>
                <a:gd name="T61" fmla="*/ 256 h 304"/>
                <a:gd name="T62" fmla="*/ 153 w 258"/>
                <a:gd name="T63" fmla="*/ 260 h 304"/>
                <a:gd name="T64" fmla="*/ 180 w 258"/>
                <a:gd name="T65" fmla="*/ 256 h 304"/>
                <a:gd name="T66" fmla="*/ 204 w 258"/>
                <a:gd name="T67" fmla="*/ 248 h 304"/>
                <a:gd name="T68" fmla="*/ 226 w 258"/>
                <a:gd name="T69" fmla="*/ 236 h 304"/>
                <a:gd name="T70" fmla="*/ 248 w 258"/>
                <a:gd name="T71" fmla="*/ 270 h 304"/>
                <a:gd name="T72" fmla="*/ 226 w 258"/>
                <a:gd name="T73" fmla="*/ 286 h 304"/>
                <a:gd name="T74" fmla="*/ 202 w 258"/>
                <a:gd name="T75" fmla="*/ 296 h 304"/>
                <a:gd name="T76" fmla="*/ 176 w 258"/>
                <a:gd name="T77" fmla="*/ 302 h 304"/>
                <a:gd name="T78" fmla="*/ 147 w 258"/>
                <a:gd name="T79" fmla="*/ 304 h 304"/>
                <a:gd name="T80" fmla="*/ 115 w 258"/>
                <a:gd name="T81" fmla="*/ 302 h 304"/>
                <a:gd name="T82" fmla="*/ 87 w 258"/>
                <a:gd name="T83" fmla="*/ 294 h 304"/>
                <a:gd name="T84" fmla="*/ 61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1 w 258"/>
                <a:gd name="T105" fmla="*/ 22 h 304"/>
                <a:gd name="T106" fmla="*/ 83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7" y="52"/>
                  </a:lnTo>
                  <a:lnTo>
                    <a:pt x="81" y="66"/>
                  </a:lnTo>
                  <a:lnTo>
                    <a:pt x="67" y="82"/>
                  </a:lnTo>
                  <a:lnTo>
                    <a:pt x="57" y="101"/>
                  </a:lnTo>
                  <a:lnTo>
                    <a:pt x="53" y="125"/>
                  </a:lnTo>
                  <a:lnTo>
                    <a:pt x="210" y="125"/>
                  </a:lnTo>
                  <a:lnTo>
                    <a:pt x="210" y="119"/>
                  </a:lnTo>
                  <a:lnTo>
                    <a:pt x="208" y="97"/>
                  </a:lnTo>
                  <a:lnTo>
                    <a:pt x="200" y="78"/>
                  </a:lnTo>
                  <a:lnTo>
                    <a:pt x="190" y="64"/>
                  </a:lnTo>
                  <a:lnTo>
                    <a:pt x="178" y="52"/>
                  </a:lnTo>
                  <a:lnTo>
                    <a:pt x="160" y="46"/>
                  </a:lnTo>
                  <a:lnTo>
                    <a:pt x="141" y="42"/>
                  </a:lnTo>
                  <a:close/>
                  <a:moveTo>
                    <a:pt x="139" y="0"/>
                  </a:moveTo>
                  <a:lnTo>
                    <a:pt x="166" y="2"/>
                  </a:lnTo>
                  <a:lnTo>
                    <a:pt x="190" y="10"/>
                  </a:lnTo>
                  <a:lnTo>
                    <a:pt x="210" y="20"/>
                  </a:lnTo>
                  <a:lnTo>
                    <a:pt x="228" y="36"/>
                  </a:lnTo>
                  <a:lnTo>
                    <a:pt x="240" y="56"/>
                  </a:lnTo>
                  <a:lnTo>
                    <a:pt x="250" y="78"/>
                  </a:lnTo>
                  <a:lnTo>
                    <a:pt x="256" y="103"/>
                  </a:lnTo>
                  <a:lnTo>
                    <a:pt x="258" y="129"/>
                  </a:lnTo>
                  <a:lnTo>
                    <a:pt x="256" y="165"/>
                  </a:lnTo>
                  <a:lnTo>
                    <a:pt x="51" y="165"/>
                  </a:lnTo>
                  <a:lnTo>
                    <a:pt x="57" y="193"/>
                  </a:lnTo>
                  <a:lnTo>
                    <a:pt x="65" y="216"/>
                  </a:lnTo>
                  <a:lnTo>
                    <a:pt x="79" y="234"/>
                  </a:lnTo>
                  <a:lnTo>
                    <a:pt x="99" y="248"/>
                  </a:lnTo>
                  <a:lnTo>
                    <a:pt x="123" y="256"/>
                  </a:lnTo>
                  <a:lnTo>
                    <a:pt x="153" y="260"/>
                  </a:lnTo>
                  <a:lnTo>
                    <a:pt x="180" y="256"/>
                  </a:lnTo>
                  <a:lnTo>
                    <a:pt x="204" y="248"/>
                  </a:lnTo>
                  <a:lnTo>
                    <a:pt x="226" y="236"/>
                  </a:lnTo>
                  <a:lnTo>
                    <a:pt x="248" y="270"/>
                  </a:lnTo>
                  <a:lnTo>
                    <a:pt x="226" y="286"/>
                  </a:lnTo>
                  <a:lnTo>
                    <a:pt x="202" y="296"/>
                  </a:lnTo>
                  <a:lnTo>
                    <a:pt x="176" y="302"/>
                  </a:lnTo>
                  <a:lnTo>
                    <a:pt x="147" y="304"/>
                  </a:lnTo>
                  <a:lnTo>
                    <a:pt x="115" y="302"/>
                  </a:lnTo>
                  <a:lnTo>
                    <a:pt x="87" y="294"/>
                  </a:lnTo>
                  <a:lnTo>
                    <a:pt x="61" y="282"/>
                  </a:lnTo>
                  <a:lnTo>
                    <a:pt x="42" y="264"/>
                  </a:lnTo>
                  <a:lnTo>
                    <a:pt x="24" y="242"/>
                  </a:lnTo>
                  <a:lnTo>
                    <a:pt x="12" y="216"/>
                  </a:lnTo>
                  <a:lnTo>
                    <a:pt x="4" y="185"/>
                  </a:lnTo>
                  <a:lnTo>
                    <a:pt x="0" y="149"/>
                  </a:lnTo>
                  <a:lnTo>
                    <a:pt x="4" y="115"/>
                  </a:lnTo>
                  <a:lnTo>
                    <a:pt x="12" y="86"/>
                  </a:lnTo>
                  <a:lnTo>
                    <a:pt x="24" y="60"/>
                  </a:lnTo>
                  <a:lnTo>
                    <a:pt x="40" y="40"/>
                  </a:lnTo>
                  <a:lnTo>
                    <a:pt x="61" y="22"/>
                  </a:lnTo>
                  <a:lnTo>
                    <a:pt x="83"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1" name="Freeform 43">
              <a:extLst>
                <a:ext uri="{FF2B5EF4-FFF2-40B4-BE49-F238E27FC236}">
                  <a16:creationId xmlns:a16="http://schemas.microsoft.com/office/drawing/2014/main" id="{F984179D-AEFC-43A3-961F-FFEBAC98C885}"/>
                </a:ext>
              </a:extLst>
            </p:cNvPr>
            <p:cNvSpPr>
              <a:spLocks/>
            </p:cNvSpPr>
            <p:nvPr userDrawn="1"/>
          </p:nvSpPr>
          <p:spPr bwMode="auto">
            <a:xfrm>
              <a:off x="2669178" y="1311864"/>
              <a:ext cx="72303" cy="128733"/>
            </a:xfrm>
            <a:custGeom>
              <a:avLst/>
              <a:gdLst>
                <a:gd name="T0" fmla="*/ 139 w 164"/>
                <a:gd name="T1" fmla="*/ 0 h 292"/>
                <a:gd name="T2" fmla="*/ 147 w 164"/>
                <a:gd name="T3" fmla="*/ 0 h 292"/>
                <a:gd name="T4" fmla="*/ 155 w 164"/>
                <a:gd name="T5" fmla="*/ 0 h 292"/>
                <a:gd name="T6" fmla="*/ 161 w 164"/>
                <a:gd name="T7" fmla="*/ 2 h 292"/>
                <a:gd name="T8" fmla="*/ 164 w 164"/>
                <a:gd name="T9" fmla="*/ 2 h 292"/>
                <a:gd name="T10" fmla="*/ 164 w 164"/>
                <a:gd name="T11" fmla="*/ 46 h 292"/>
                <a:gd name="T12" fmla="*/ 147 w 164"/>
                <a:gd name="T13" fmla="*/ 46 h 292"/>
                <a:gd name="T14" fmla="*/ 117 w 164"/>
                <a:gd name="T15" fmla="*/ 48 h 292"/>
                <a:gd name="T16" fmla="*/ 93 w 164"/>
                <a:gd name="T17" fmla="*/ 56 h 292"/>
                <a:gd name="T18" fmla="*/ 75 w 164"/>
                <a:gd name="T19" fmla="*/ 70 h 292"/>
                <a:gd name="T20" fmla="*/ 61 w 164"/>
                <a:gd name="T21" fmla="*/ 91 h 292"/>
                <a:gd name="T22" fmla="*/ 54 w 164"/>
                <a:gd name="T23" fmla="*/ 119 h 292"/>
                <a:gd name="T24" fmla="*/ 52 w 164"/>
                <a:gd name="T25" fmla="*/ 153 h 292"/>
                <a:gd name="T26" fmla="*/ 52 w 164"/>
                <a:gd name="T27" fmla="*/ 292 h 292"/>
                <a:gd name="T28" fmla="*/ 0 w 164"/>
                <a:gd name="T29" fmla="*/ 292 h 292"/>
                <a:gd name="T30" fmla="*/ 0 w 164"/>
                <a:gd name="T31" fmla="*/ 4 h 292"/>
                <a:gd name="T32" fmla="*/ 26 w 164"/>
                <a:gd name="T33" fmla="*/ 4 h 292"/>
                <a:gd name="T34" fmla="*/ 36 w 164"/>
                <a:gd name="T35" fmla="*/ 4 h 292"/>
                <a:gd name="T36" fmla="*/ 42 w 164"/>
                <a:gd name="T37" fmla="*/ 6 h 292"/>
                <a:gd name="T38" fmla="*/ 46 w 164"/>
                <a:gd name="T39" fmla="*/ 10 h 292"/>
                <a:gd name="T40" fmla="*/ 50 w 164"/>
                <a:gd name="T41" fmla="*/ 16 h 292"/>
                <a:gd name="T42" fmla="*/ 50 w 164"/>
                <a:gd name="T43" fmla="*/ 24 h 292"/>
                <a:gd name="T44" fmla="*/ 50 w 164"/>
                <a:gd name="T45" fmla="*/ 52 h 292"/>
                <a:gd name="T46" fmla="*/ 65 w 164"/>
                <a:gd name="T47" fmla="*/ 30 h 292"/>
                <a:gd name="T48" fmla="*/ 85 w 164"/>
                <a:gd name="T49" fmla="*/ 12 h 292"/>
                <a:gd name="T50" fmla="*/ 111 w 164"/>
                <a:gd name="T51" fmla="*/ 2 h 292"/>
                <a:gd name="T52" fmla="*/ 139 w 16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4" h="292">
                  <a:moveTo>
                    <a:pt x="139" y="0"/>
                  </a:moveTo>
                  <a:lnTo>
                    <a:pt x="147" y="0"/>
                  </a:lnTo>
                  <a:lnTo>
                    <a:pt x="155" y="0"/>
                  </a:lnTo>
                  <a:lnTo>
                    <a:pt x="161" y="2"/>
                  </a:lnTo>
                  <a:lnTo>
                    <a:pt x="164" y="2"/>
                  </a:lnTo>
                  <a:lnTo>
                    <a:pt x="164" y="46"/>
                  </a:lnTo>
                  <a:lnTo>
                    <a:pt x="147" y="46"/>
                  </a:lnTo>
                  <a:lnTo>
                    <a:pt x="117" y="48"/>
                  </a:lnTo>
                  <a:lnTo>
                    <a:pt x="93" y="56"/>
                  </a:lnTo>
                  <a:lnTo>
                    <a:pt x="75" y="70"/>
                  </a:lnTo>
                  <a:lnTo>
                    <a:pt x="61" y="91"/>
                  </a:lnTo>
                  <a:lnTo>
                    <a:pt x="54" y="119"/>
                  </a:lnTo>
                  <a:lnTo>
                    <a:pt x="52" y="153"/>
                  </a:lnTo>
                  <a:lnTo>
                    <a:pt x="52" y="292"/>
                  </a:lnTo>
                  <a:lnTo>
                    <a:pt x="0" y="292"/>
                  </a:lnTo>
                  <a:lnTo>
                    <a:pt x="0" y="4"/>
                  </a:lnTo>
                  <a:lnTo>
                    <a:pt x="26" y="4"/>
                  </a:lnTo>
                  <a:lnTo>
                    <a:pt x="36" y="4"/>
                  </a:lnTo>
                  <a:lnTo>
                    <a:pt x="42" y="6"/>
                  </a:lnTo>
                  <a:lnTo>
                    <a:pt x="46" y="10"/>
                  </a:lnTo>
                  <a:lnTo>
                    <a:pt x="50" y="16"/>
                  </a:lnTo>
                  <a:lnTo>
                    <a:pt x="50" y="24"/>
                  </a:lnTo>
                  <a:lnTo>
                    <a:pt x="50" y="52"/>
                  </a:lnTo>
                  <a:lnTo>
                    <a:pt x="65" y="30"/>
                  </a:lnTo>
                  <a:lnTo>
                    <a:pt x="85" y="12"/>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2" name="Freeform 44">
              <a:extLst>
                <a:ext uri="{FF2B5EF4-FFF2-40B4-BE49-F238E27FC236}">
                  <a16:creationId xmlns:a16="http://schemas.microsoft.com/office/drawing/2014/main" id="{44B6972D-0924-4AD8-B18D-1B7C8D94F374}"/>
                </a:ext>
              </a:extLst>
            </p:cNvPr>
            <p:cNvSpPr>
              <a:spLocks noEditPoints="1"/>
            </p:cNvSpPr>
            <p:nvPr userDrawn="1"/>
          </p:nvSpPr>
          <p:spPr bwMode="auto">
            <a:xfrm>
              <a:off x="2762640" y="1262484"/>
              <a:ext cx="22925" cy="178109"/>
            </a:xfrm>
            <a:custGeom>
              <a:avLst/>
              <a:gdLst>
                <a:gd name="T0" fmla="*/ 0 w 54"/>
                <a:gd name="T1" fmla="*/ 117 h 405"/>
                <a:gd name="T2" fmla="*/ 52 w 54"/>
                <a:gd name="T3" fmla="*/ 117 h 405"/>
                <a:gd name="T4" fmla="*/ 52 w 54"/>
                <a:gd name="T5" fmla="*/ 405 h 405"/>
                <a:gd name="T6" fmla="*/ 0 w 54"/>
                <a:gd name="T7" fmla="*/ 405 h 405"/>
                <a:gd name="T8" fmla="*/ 0 w 54"/>
                <a:gd name="T9" fmla="*/ 117 h 405"/>
                <a:gd name="T10" fmla="*/ 0 w 54"/>
                <a:gd name="T11" fmla="*/ 0 h 405"/>
                <a:gd name="T12" fmla="*/ 54 w 54"/>
                <a:gd name="T13" fmla="*/ 0 h 405"/>
                <a:gd name="T14" fmla="*/ 54 w 54"/>
                <a:gd name="T15" fmla="*/ 60 h 405"/>
                <a:gd name="T16" fmla="*/ 0 w 54"/>
                <a:gd name="T17" fmla="*/ 60 h 405"/>
                <a:gd name="T18" fmla="*/ 0 w 54"/>
                <a:gd name="T1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5">
                  <a:moveTo>
                    <a:pt x="0" y="117"/>
                  </a:moveTo>
                  <a:lnTo>
                    <a:pt x="52" y="117"/>
                  </a:lnTo>
                  <a:lnTo>
                    <a:pt x="52" y="405"/>
                  </a:lnTo>
                  <a:lnTo>
                    <a:pt x="0" y="405"/>
                  </a:lnTo>
                  <a:lnTo>
                    <a:pt x="0" y="117"/>
                  </a:lnTo>
                  <a:close/>
                  <a:moveTo>
                    <a:pt x="0" y="0"/>
                  </a:moveTo>
                  <a:lnTo>
                    <a:pt x="54" y="0"/>
                  </a:lnTo>
                  <a:lnTo>
                    <a:pt x="54" y="60"/>
                  </a:lnTo>
                  <a:lnTo>
                    <a:pt x="0" y="6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3" name="Freeform 45">
              <a:extLst>
                <a:ext uri="{FF2B5EF4-FFF2-40B4-BE49-F238E27FC236}">
                  <a16:creationId xmlns:a16="http://schemas.microsoft.com/office/drawing/2014/main" id="{4CF21DD4-2D82-432A-9538-A0E688AA13AC}"/>
                </a:ext>
              </a:extLst>
            </p:cNvPr>
            <p:cNvSpPr>
              <a:spLocks noEditPoints="1"/>
            </p:cNvSpPr>
            <p:nvPr userDrawn="1"/>
          </p:nvSpPr>
          <p:spPr bwMode="auto">
            <a:xfrm>
              <a:off x="2814664" y="1310097"/>
              <a:ext cx="112861" cy="134024"/>
            </a:xfrm>
            <a:custGeom>
              <a:avLst/>
              <a:gdLst>
                <a:gd name="T0" fmla="*/ 139 w 256"/>
                <a:gd name="T1" fmla="*/ 42 h 304"/>
                <a:gd name="T2" fmla="*/ 117 w 256"/>
                <a:gd name="T3" fmla="*/ 46 h 304"/>
                <a:gd name="T4" fmla="*/ 97 w 256"/>
                <a:gd name="T5" fmla="*/ 52 h 304"/>
                <a:gd name="T6" fmla="*/ 79 w 256"/>
                <a:gd name="T7" fmla="*/ 66 h 304"/>
                <a:gd name="T8" fmla="*/ 67 w 256"/>
                <a:gd name="T9" fmla="*/ 82 h 304"/>
                <a:gd name="T10" fmla="*/ 57 w 256"/>
                <a:gd name="T11" fmla="*/ 101 h 304"/>
                <a:gd name="T12" fmla="*/ 51 w 256"/>
                <a:gd name="T13" fmla="*/ 125 h 304"/>
                <a:gd name="T14" fmla="*/ 208 w 256"/>
                <a:gd name="T15" fmla="*/ 125 h 304"/>
                <a:gd name="T16" fmla="*/ 208 w 256"/>
                <a:gd name="T17" fmla="*/ 119 h 304"/>
                <a:gd name="T18" fmla="*/ 206 w 256"/>
                <a:gd name="T19" fmla="*/ 97 h 304"/>
                <a:gd name="T20" fmla="*/ 200 w 256"/>
                <a:gd name="T21" fmla="*/ 78 h 304"/>
                <a:gd name="T22" fmla="*/ 190 w 256"/>
                <a:gd name="T23" fmla="*/ 64 h 304"/>
                <a:gd name="T24" fmla="*/ 176 w 256"/>
                <a:gd name="T25" fmla="*/ 52 h 304"/>
                <a:gd name="T26" fmla="*/ 159 w 256"/>
                <a:gd name="T27" fmla="*/ 46 h 304"/>
                <a:gd name="T28" fmla="*/ 139 w 256"/>
                <a:gd name="T29" fmla="*/ 42 h 304"/>
                <a:gd name="T30" fmla="*/ 137 w 256"/>
                <a:gd name="T31" fmla="*/ 0 h 304"/>
                <a:gd name="T32" fmla="*/ 164 w 256"/>
                <a:gd name="T33" fmla="*/ 2 h 304"/>
                <a:gd name="T34" fmla="*/ 188 w 256"/>
                <a:gd name="T35" fmla="*/ 10 h 304"/>
                <a:gd name="T36" fmla="*/ 210 w 256"/>
                <a:gd name="T37" fmla="*/ 20 h 304"/>
                <a:gd name="T38" fmla="*/ 226 w 256"/>
                <a:gd name="T39" fmla="*/ 36 h 304"/>
                <a:gd name="T40" fmla="*/ 240 w 256"/>
                <a:gd name="T41" fmla="*/ 56 h 304"/>
                <a:gd name="T42" fmla="*/ 250 w 256"/>
                <a:gd name="T43" fmla="*/ 78 h 304"/>
                <a:gd name="T44" fmla="*/ 254 w 256"/>
                <a:gd name="T45" fmla="*/ 103 h 304"/>
                <a:gd name="T46" fmla="*/ 256 w 256"/>
                <a:gd name="T47" fmla="*/ 129 h 304"/>
                <a:gd name="T48" fmla="*/ 254 w 256"/>
                <a:gd name="T49" fmla="*/ 165 h 304"/>
                <a:gd name="T50" fmla="*/ 51 w 256"/>
                <a:gd name="T51" fmla="*/ 165 h 304"/>
                <a:gd name="T52" fmla="*/ 55 w 256"/>
                <a:gd name="T53" fmla="*/ 193 h 304"/>
                <a:gd name="T54" fmla="*/ 65 w 256"/>
                <a:gd name="T55" fmla="*/ 216 h 304"/>
                <a:gd name="T56" fmla="*/ 79 w 256"/>
                <a:gd name="T57" fmla="*/ 234 h 304"/>
                <a:gd name="T58" fmla="*/ 97 w 256"/>
                <a:gd name="T59" fmla="*/ 248 h 304"/>
                <a:gd name="T60" fmla="*/ 123 w 256"/>
                <a:gd name="T61" fmla="*/ 256 h 304"/>
                <a:gd name="T62" fmla="*/ 151 w 256"/>
                <a:gd name="T63" fmla="*/ 260 h 304"/>
                <a:gd name="T64" fmla="*/ 178 w 256"/>
                <a:gd name="T65" fmla="*/ 256 h 304"/>
                <a:gd name="T66" fmla="*/ 204 w 256"/>
                <a:gd name="T67" fmla="*/ 248 h 304"/>
                <a:gd name="T68" fmla="*/ 224 w 256"/>
                <a:gd name="T69" fmla="*/ 236 h 304"/>
                <a:gd name="T70" fmla="*/ 246 w 256"/>
                <a:gd name="T71" fmla="*/ 270 h 304"/>
                <a:gd name="T72" fmla="*/ 226 w 256"/>
                <a:gd name="T73" fmla="*/ 286 h 304"/>
                <a:gd name="T74" fmla="*/ 202 w 256"/>
                <a:gd name="T75" fmla="*/ 296 h 304"/>
                <a:gd name="T76" fmla="*/ 174 w 256"/>
                <a:gd name="T77" fmla="*/ 302 h 304"/>
                <a:gd name="T78" fmla="*/ 147 w 256"/>
                <a:gd name="T79" fmla="*/ 304 h 304"/>
                <a:gd name="T80" fmla="*/ 115 w 256"/>
                <a:gd name="T81" fmla="*/ 302 h 304"/>
                <a:gd name="T82" fmla="*/ 85 w 256"/>
                <a:gd name="T83" fmla="*/ 294 h 304"/>
                <a:gd name="T84" fmla="*/ 61 w 256"/>
                <a:gd name="T85" fmla="*/ 282 h 304"/>
                <a:gd name="T86" fmla="*/ 40 w 256"/>
                <a:gd name="T87" fmla="*/ 264 h 304"/>
                <a:gd name="T88" fmla="*/ 22 w 256"/>
                <a:gd name="T89" fmla="*/ 242 h 304"/>
                <a:gd name="T90" fmla="*/ 10 w 256"/>
                <a:gd name="T91" fmla="*/ 216 h 304"/>
                <a:gd name="T92" fmla="*/ 2 w 256"/>
                <a:gd name="T93" fmla="*/ 185 h 304"/>
                <a:gd name="T94" fmla="*/ 0 w 256"/>
                <a:gd name="T95" fmla="*/ 149 h 304"/>
                <a:gd name="T96" fmla="*/ 2 w 256"/>
                <a:gd name="T97" fmla="*/ 115 h 304"/>
                <a:gd name="T98" fmla="*/ 10 w 256"/>
                <a:gd name="T99" fmla="*/ 86 h 304"/>
                <a:gd name="T100" fmla="*/ 22 w 256"/>
                <a:gd name="T101" fmla="*/ 60 h 304"/>
                <a:gd name="T102" fmla="*/ 40 w 256"/>
                <a:gd name="T103" fmla="*/ 40 h 304"/>
                <a:gd name="T104" fmla="*/ 59 w 256"/>
                <a:gd name="T105" fmla="*/ 22 h 304"/>
                <a:gd name="T106" fmla="*/ 83 w 256"/>
                <a:gd name="T107" fmla="*/ 10 h 304"/>
                <a:gd name="T108" fmla="*/ 109 w 256"/>
                <a:gd name="T109" fmla="*/ 2 h 304"/>
                <a:gd name="T110" fmla="*/ 137 w 256"/>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04">
                  <a:moveTo>
                    <a:pt x="139"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9" y="46"/>
                  </a:lnTo>
                  <a:lnTo>
                    <a:pt x="139" y="42"/>
                  </a:lnTo>
                  <a:close/>
                  <a:moveTo>
                    <a:pt x="137" y="0"/>
                  </a:moveTo>
                  <a:lnTo>
                    <a:pt x="164" y="2"/>
                  </a:lnTo>
                  <a:lnTo>
                    <a:pt x="188" y="10"/>
                  </a:lnTo>
                  <a:lnTo>
                    <a:pt x="210" y="20"/>
                  </a:lnTo>
                  <a:lnTo>
                    <a:pt x="226" y="36"/>
                  </a:lnTo>
                  <a:lnTo>
                    <a:pt x="240" y="56"/>
                  </a:lnTo>
                  <a:lnTo>
                    <a:pt x="250" y="78"/>
                  </a:lnTo>
                  <a:lnTo>
                    <a:pt x="254" y="103"/>
                  </a:lnTo>
                  <a:lnTo>
                    <a:pt x="256" y="129"/>
                  </a:lnTo>
                  <a:lnTo>
                    <a:pt x="254" y="165"/>
                  </a:lnTo>
                  <a:lnTo>
                    <a:pt x="51" y="165"/>
                  </a:lnTo>
                  <a:lnTo>
                    <a:pt x="55" y="193"/>
                  </a:lnTo>
                  <a:lnTo>
                    <a:pt x="65" y="216"/>
                  </a:lnTo>
                  <a:lnTo>
                    <a:pt x="79" y="234"/>
                  </a:lnTo>
                  <a:lnTo>
                    <a:pt x="97" y="248"/>
                  </a:lnTo>
                  <a:lnTo>
                    <a:pt x="123" y="256"/>
                  </a:lnTo>
                  <a:lnTo>
                    <a:pt x="151" y="260"/>
                  </a:lnTo>
                  <a:lnTo>
                    <a:pt x="178" y="256"/>
                  </a:lnTo>
                  <a:lnTo>
                    <a:pt x="204" y="248"/>
                  </a:lnTo>
                  <a:lnTo>
                    <a:pt x="224" y="236"/>
                  </a:lnTo>
                  <a:lnTo>
                    <a:pt x="246" y="270"/>
                  </a:lnTo>
                  <a:lnTo>
                    <a:pt x="226" y="286"/>
                  </a:lnTo>
                  <a:lnTo>
                    <a:pt x="202" y="296"/>
                  </a:lnTo>
                  <a:lnTo>
                    <a:pt x="174" y="302"/>
                  </a:lnTo>
                  <a:lnTo>
                    <a:pt x="147" y="304"/>
                  </a:lnTo>
                  <a:lnTo>
                    <a:pt x="115" y="302"/>
                  </a:lnTo>
                  <a:lnTo>
                    <a:pt x="85" y="294"/>
                  </a:lnTo>
                  <a:lnTo>
                    <a:pt x="61" y="282"/>
                  </a:lnTo>
                  <a:lnTo>
                    <a:pt x="40" y="264"/>
                  </a:lnTo>
                  <a:lnTo>
                    <a:pt x="22" y="242"/>
                  </a:lnTo>
                  <a:lnTo>
                    <a:pt x="10" y="216"/>
                  </a:lnTo>
                  <a:lnTo>
                    <a:pt x="2" y="185"/>
                  </a:lnTo>
                  <a:lnTo>
                    <a:pt x="0" y="149"/>
                  </a:lnTo>
                  <a:lnTo>
                    <a:pt x="2" y="115"/>
                  </a:lnTo>
                  <a:lnTo>
                    <a:pt x="10" y="86"/>
                  </a:lnTo>
                  <a:lnTo>
                    <a:pt x="22" y="60"/>
                  </a:lnTo>
                  <a:lnTo>
                    <a:pt x="40" y="40"/>
                  </a:lnTo>
                  <a:lnTo>
                    <a:pt x="59" y="22"/>
                  </a:lnTo>
                  <a:lnTo>
                    <a:pt x="83" y="10"/>
                  </a:lnTo>
                  <a:lnTo>
                    <a:pt x="109" y="2"/>
                  </a:lnTo>
                  <a:lnTo>
                    <a:pt x="13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4" name="Freeform 46">
              <a:extLst>
                <a:ext uri="{FF2B5EF4-FFF2-40B4-BE49-F238E27FC236}">
                  <a16:creationId xmlns:a16="http://schemas.microsoft.com/office/drawing/2014/main" id="{131EBDAD-BC9E-4A5E-9644-E32EEE4BC765}"/>
                </a:ext>
              </a:extLst>
            </p:cNvPr>
            <p:cNvSpPr>
              <a:spLocks/>
            </p:cNvSpPr>
            <p:nvPr userDrawn="1"/>
          </p:nvSpPr>
          <p:spPr bwMode="auto">
            <a:xfrm>
              <a:off x="2956624" y="1310097"/>
              <a:ext cx="110217" cy="130496"/>
            </a:xfrm>
            <a:custGeom>
              <a:avLst/>
              <a:gdLst>
                <a:gd name="T0" fmla="*/ 149 w 252"/>
                <a:gd name="T1" fmla="*/ 0 h 296"/>
                <a:gd name="T2" fmla="*/ 180 w 252"/>
                <a:gd name="T3" fmla="*/ 2 h 296"/>
                <a:gd name="T4" fmla="*/ 206 w 252"/>
                <a:gd name="T5" fmla="*/ 12 h 296"/>
                <a:gd name="T6" fmla="*/ 226 w 252"/>
                <a:gd name="T7" fmla="*/ 28 h 296"/>
                <a:gd name="T8" fmla="*/ 240 w 252"/>
                <a:gd name="T9" fmla="*/ 50 h 296"/>
                <a:gd name="T10" fmla="*/ 250 w 252"/>
                <a:gd name="T11" fmla="*/ 78 h 296"/>
                <a:gd name="T12" fmla="*/ 252 w 252"/>
                <a:gd name="T13" fmla="*/ 111 h 296"/>
                <a:gd name="T14" fmla="*/ 252 w 252"/>
                <a:gd name="T15" fmla="*/ 296 h 296"/>
                <a:gd name="T16" fmla="*/ 200 w 252"/>
                <a:gd name="T17" fmla="*/ 296 h 296"/>
                <a:gd name="T18" fmla="*/ 200 w 252"/>
                <a:gd name="T19" fmla="*/ 117 h 296"/>
                <a:gd name="T20" fmla="*/ 198 w 252"/>
                <a:gd name="T21" fmla="*/ 94 h 296"/>
                <a:gd name="T22" fmla="*/ 194 w 252"/>
                <a:gd name="T23" fmla="*/ 76 h 296"/>
                <a:gd name="T24" fmla="*/ 184 w 252"/>
                <a:gd name="T25" fmla="*/ 62 h 296"/>
                <a:gd name="T26" fmla="*/ 172 w 252"/>
                <a:gd name="T27" fmla="*/ 52 h 296"/>
                <a:gd name="T28" fmla="*/ 157 w 252"/>
                <a:gd name="T29" fmla="*/ 46 h 296"/>
                <a:gd name="T30" fmla="*/ 137 w 252"/>
                <a:gd name="T31" fmla="*/ 44 h 296"/>
                <a:gd name="T32" fmla="*/ 113 w 252"/>
                <a:gd name="T33" fmla="*/ 48 h 296"/>
                <a:gd name="T34" fmla="*/ 93 w 252"/>
                <a:gd name="T35" fmla="*/ 56 h 296"/>
                <a:gd name="T36" fmla="*/ 75 w 252"/>
                <a:gd name="T37" fmla="*/ 70 h 296"/>
                <a:gd name="T38" fmla="*/ 61 w 252"/>
                <a:gd name="T39" fmla="*/ 90 h 296"/>
                <a:gd name="T40" fmla="*/ 56 w 252"/>
                <a:gd name="T41" fmla="*/ 113 h 296"/>
                <a:gd name="T42" fmla="*/ 52 w 252"/>
                <a:gd name="T43" fmla="*/ 143 h 296"/>
                <a:gd name="T44" fmla="*/ 52 w 252"/>
                <a:gd name="T45" fmla="*/ 296 h 296"/>
                <a:gd name="T46" fmla="*/ 0 w 252"/>
                <a:gd name="T47" fmla="*/ 296 h 296"/>
                <a:gd name="T48" fmla="*/ 0 w 252"/>
                <a:gd name="T49" fmla="*/ 8 h 296"/>
                <a:gd name="T50" fmla="*/ 28 w 252"/>
                <a:gd name="T51" fmla="*/ 8 h 296"/>
                <a:gd name="T52" fmla="*/ 36 w 252"/>
                <a:gd name="T53" fmla="*/ 8 h 296"/>
                <a:gd name="T54" fmla="*/ 42 w 252"/>
                <a:gd name="T55" fmla="*/ 10 h 296"/>
                <a:gd name="T56" fmla="*/ 48 w 252"/>
                <a:gd name="T57" fmla="*/ 14 h 296"/>
                <a:gd name="T58" fmla="*/ 50 w 252"/>
                <a:gd name="T59" fmla="*/ 20 h 296"/>
                <a:gd name="T60" fmla="*/ 52 w 252"/>
                <a:gd name="T61" fmla="*/ 28 h 296"/>
                <a:gd name="T62" fmla="*/ 52 w 252"/>
                <a:gd name="T63" fmla="*/ 52 h 296"/>
                <a:gd name="T64" fmla="*/ 67 w 252"/>
                <a:gd name="T65" fmla="*/ 30 h 296"/>
                <a:gd name="T66" fmla="*/ 89 w 252"/>
                <a:gd name="T67" fmla="*/ 14 h 296"/>
                <a:gd name="T68" fmla="*/ 117 w 252"/>
                <a:gd name="T69" fmla="*/ 4 h 296"/>
                <a:gd name="T70" fmla="*/ 149 w 252"/>
                <a:gd name="T7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96">
                  <a:moveTo>
                    <a:pt x="149" y="0"/>
                  </a:moveTo>
                  <a:lnTo>
                    <a:pt x="180" y="2"/>
                  </a:lnTo>
                  <a:lnTo>
                    <a:pt x="206" y="12"/>
                  </a:lnTo>
                  <a:lnTo>
                    <a:pt x="226" y="28"/>
                  </a:lnTo>
                  <a:lnTo>
                    <a:pt x="240" y="50"/>
                  </a:lnTo>
                  <a:lnTo>
                    <a:pt x="250" y="78"/>
                  </a:lnTo>
                  <a:lnTo>
                    <a:pt x="252" y="111"/>
                  </a:lnTo>
                  <a:lnTo>
                    <a:pt x="252" y="296"/>
                  </a:lnTo>
                  <a:lnTo>
                    <a:pt x="200" y="296"/>
                  </a:lnTo>
                  <a:lnTo>
                    <a:pt x="200" y="117"/>
                  </a:lnTo>
                  <a:lnTo>
                    <a:pt x="198" y="94"/>
                  </a:lnTo>
                  <a:lnTo>
                    <a:pt x="194" y="76"/>
                  </a:lnTo>
                  <a:lnTo>
                    <a:pt x="184" y="62"/>
                  </a:lnTo>
                  <a:lnTo>
                    <a:pt x="172" y="52"/>
                  </a:lnTo>
                  <a:lnTo>
                    <a:pt x="157" y="46"/>
                  </a:lnTo>
                  <a:lnTo>
                    <a:pt x="137" y="44"/>
                  </a:lnTo>
                  <a:lnTo>
                    <a:pt x="113" y="48"/>
                  </a:lnTo>
                  <a:lnTo>
                    <a:pt x="93" y="56"/>
                  </a:lnTo>
                  <a:lnTo>
                    <a:pt x="75" y="70"/>
                  </a:lnTo>
                  <a:lnTo>
                    <a:pt x="61" y="90"/>
                  </a:lnTo>
                  <a:lnTo>
                    <a:pt x="56" y="113"/>
                  </a:lnTo>
                  <a:lnTo>
                    <a:pt x="52" y="143"/>
                  </a:lnTo>
                  <a:lnTo>
                    <a:pt x="52" y="296"/>
                  </a:lnTo>
                  <a:lnTo>
                    <a:pt x="0" y="296"/>
                  </a:lnTo>
                  <a:lnTo>
                    <a:pt x="0" y="8"/>
                  </a:lnTo>
                  <a:lnTo>
                    <a:pt x="28" y="8"/>
                  </a:lnTo>
                  <a:lnTo>
                    <a:pt x="36" y="8"/>
                  </a:lnTo>
                  <a:lnTo>
                    <a:pt x="42" y="10"/>
                  </a:lnTo>
                  <a:lnTo>
                    <a:pt x="48" y="14"/>
                  </a:lnTo>
                  <a:lnTo>
                    <a:pt x="50" y="20"/>
                  </a:lnTo>
                  <a:lnTo>
                    <a:pt x="52" y="28"/>
                  </a:lnTo>
                  <a:lnTo>
                    <a:pt x="52" y="52"/>
                  </a:lnTo>
                  <a:lnTo>
                    <a:pt x="67" y="30"/>
                  </a:lnTo>
                  <a:lnTo>
                    <a:pt x="89" y="14"/>
                  </a:lnTo>
                  <a:lnTo>
                    <a:pt x="117" y="4"/>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5" name="Freeform 47">
              <a:extLst>
                <a:ext uri="{FF2B5EF4-FFF2-40B4-BE49-F238E27FC236}">
                  <a16:creationId xmlns:a16="http://schemas.microsoft.com/office/drawing/2014/main" id="{EC5F0E5B-1AB9-4B5C-9642-BE65CD73583A}"/>
                </a:ext>
              </a:extLst>
            </p:cNvPr>
            <p:cNvSpPr>
              <a:spLocks/>
            </p:cNvSpPr>
            <p:nvPr userDrawn="1"/>
          </p:nvSpPr>
          <p:spPr bwMode="auto">
            <a:xfrm>
              <a:off x="3093293" y="1310097"/>
              <a:ext cx="104927" cy="134024"/>
            </a:xfrm>
            <a:custGeom>
              <a:avLst/>
              <a:gdLst>
                <a:gd name="T0" fmla="*/ 149 w 238"/>
                <a:gd name="T1" fmla="*/ 0 h 304"/>
                <a:gd name="T2" fmla="*/ 182 w 238"/>
                <a:gd name="T3" fmla="*/ 2 h 304"/>
                <a:gd name="T4" fmla="*/ 212 w 238"/>
                <a:gd name="T5" fmla="*/ 12 h 304"/>
                <a:gd name="T6" fmla="*/ 236 w 238"/>
                <a:gd name="T7" fmla="*/ 28 h 304"/>
                <a:gd name="T8" fmla="*/ 216 w 238"/>
                <a:gd name="T9" fmla="*/ 64 h 304"/>
                <a:gd name="T10" fmla="*/ 204 w 238"/>
                <a:gd name="T11" fmla="*/ 56 h 304"/>
                <a:gd name="T12" fmla="*/ 188 w 238"/>
                <a:gd name="T13" fmla="*/ 50 h 304"/>
                <a:gd name="T14" fmla="*/ 173 w 238"/>
                <a:gd name="T15" fmla="*/ 46 h 304"/>
                <a:gd name="T16" fmla="*/ 151 w 238"/>
                <a:gd name="T17" fmla="*/ 44 h 304"/>
                <a:gd name="T18" fmla="*/ 123 w 238"/>
                <a:gd name="T19" fmla="*/ 48 h 304"/>
                <a:gd name="T20" fmla="*/ 99 w 238"/>
                <a:gd name="T21" fmla="*/ 56 h 304"/>
                <a:gd name="T22" fmla="*/ 79 w 238"/>
                <a:gd name="T23" fmla="*/ 72 h 304"/>
                <a:gd name="T24" fmla="*/ 66 w 238"/>
                <a:gd name="T25" fmla="*/ 94 h 304"/>
                <a:gd name="T26" fmla="*/ 58 w 238"/>
                <a:gd name="T27" fmla="*/ 119 h 304"/>
                <a:gd name="T28" fmla="*/ 54 w 238"/>
                <a:gd name="T29" fmla="*/ 151 h 304"/>
                <a:gd name="T30" fmla="*/ 58 w 238"/>
                <a:gd name="T31" fmla="*/ 183 h 304"/>
                <a:gd name="T32" fmla="*/ 66 w 238"/>
                <a:gd name="T33" fmla="*/ 210 h 304"/>
                <a:gd name="T34" fmla="*/ 79 w 238"/>
                <a:gd name="T35" fmla="*/ 232 h 304"/>
                <a:gd name="T36" fmla="*/ 99 w 238"/>
                <a:gd name="T37" fmla="*/ 246 h 304"/>
                <a:gd name="T38" fmla="*/ 123 w 238"/>
                <a:gd name="T39" fmla="*/ 256 h 304"/>
                <a:gd name="T40" fmla="*/ 151 w 238"/>
                <a:gd name="T41" fmla="*/ 260 h 304"/>
                <a:gd name="T42" fmla="*/ 186 w 238"/>
                <a:gd name="T43" fmla="*/ 254 h 304"/>
                <a:gd name="T44" fmla="*/ 202 w 238"/>
                <a:gd name="T45" fmla="*/ 248 h 304"/>
                <a:gd name="T46" fmla="*/ 218 w 238"/>
                <a:gd name="T47" fmla="*/ 240 h 304"/>
                <a:gd name="T48" fmla="*/ 238 w 238"/>
                <a:gd name="T49" fmla="*/ 276 h 304"/>
                <a:gd name="T50" fmla="*/ 212 w 238"/>
                <a:gd name="T51" fmla="*/ 292 h 304"/>
                <a:gd name="T52" fmla="*/ 182 w 238"/>
                <a:gd name="T53" fmla="*/ 300 h 304"/>
                <a:gd name="T54" fmla="*/ 147 w 238"/>
                <a:gd name="T55" fmla="*/ 304 h 304"/>
                <a:gd name="T56" fmla="*/ 111 w 238"/>
                <a:gd name="T57" fmla="*/ 302 h 304"/>
                <a:gd name="T58" fmla="*/ 81 w 238"/>
                <a:gd name="T59" fmla="*/ 292 h 304"/>
                <a:gd name="T60" fmla="*/ 58 w 238"/>
                <a:gd name="T61" fmla="*/ 278 h 304"/>
                <a:gd name="T62" fmla="*/ 36 w 238"/>
                <a:gd name="T63" fmla="*/ 260 h 304"/>
                <a:gd name="T64" fmla="*/ 20 w 238"/>
                <a:gd name="T65" fmla="*/ 238 h 304"/>
                <a:gd name="T66" fmla="*/ 10 w 238"/>
                <a:gd name="T67" fmla="*/ 214 h 304"/>
                <a:gd name="T68" fmla="*/ 2 w 238"/>
                <a:gd name="T69" fmla="*/ 185 h 304"/>
                <a:gd name="T70" fmla="*/ 0 w 238"/>
                <a:gd name="T71" fmla="*/ 153 h 304"/>
                <a:gd name="T72" fmla="*/ 4 w 238"/>
                <a:gd name="T73" fmla="*/ 121 h 304"/>
                <a:gd name="T74" fmla="*/ 10 w 238"/>
                <a:gd name="T75" fmla="*/ 90 h 304"/>
                <a:gd name="T76" fmla="*/ 24 w 238"/>
                <a:gd name="T77" fmla="*/ 64 h 304"/>
                <a:gd name="T78" fmla="*/ 40 w 238"/>
                <a:gd name="T79" fmla="*/ 42 h 304"/>
                <a:gd name="T80" fmla="*/ 62 w 238"/>
                <a:gd name="T81" fmla="*/ 24 h 304"/>
                <a:gd name="T82" fmla="*/ 87 w 238"/>
                <a:gd name="T83" fmla="*/ 10 h 304"/>
                <a:gd name="T84" fmla="*/ 115 w 238"/>
                <a:gd name="T85" fmla="*/ 2 h 304"/>
                <a:gd name="T86" fmla="*/ 149 w 238"/>
                <a:gd name="T8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304">
                  <a:moveTo>
                    <a:pt x="149" y="0"/>
                  </a:moveTo>
                  <a:lnTo>
                    <a:pt x="182" y="2"/>
                  </a:lnTo>
                  <a:lnTo>
                    <a:pt x="212" y="12"/>
                  </a:lnTo>
                  <a:lnTo>
                    <a:pt x="236" y="28"/>
                  </a:lnTo>
                  <a:lnTo>
                    <a:pt x="216" y="64"/>
                  </a:lnTo>
                  <a:lnTo>
                    <a:pt x="204" y="56"/>
                  </a:lnTo>
                  <a:lnTo>
                    <a:pt x="188" y="50"/>
                  </a:lnTo>
                  <a:lnTo>
                    <a:pt x="173" y="46"/>
                  </a:lnTo>
                  <a:lnTo>
                    <a:pt x="151" y="44"/>
                  </a:lnTo>
                  <a:lnTo>
                    <a:pt x="123" y="48"/>
                  </a:lnTo>
                  <a:lnTo>
                    <a:pt x="99" y="56"/>
                  </a:lnTo>
                  <a:lnTo>
                    <a:pt x="79" y="72"/>
                  </a:lnTo>
                  <a:lnTo>
                    <a:pt x="66" y="94"/>
                  </a:lnTo>
                  <a:lnTo>
                    <a:pt x="58" y="119"/>
                  </a:lnTo>
                  <a:lnTo>
                    <a:pt x="54" y="151"/>
                  </a:lnTo>
                  <a:lnTo>
                    <a:pt x="58" y="183"/>
                  </a:lnTo>
                  <a:lnTo>
                    <a:pt x="66" y="210"/>
                  </a:lnTo>
                  <a:lnTo>
                    <a:pt x="79" y="232"/>
                  </a:lnTo>
                  <a:lnTo>
                    <a:pt x="99" y="246"/>
                  </a:lnTo>
                  <a:lnTo>
                    <a:pt x="123" y="256"/>
                  </a:lnTo>
                  <a:lnTo>
                    <a:pt x="151" y="260"/>
                  </a:lnTo>
                  <a:lnTo>
                    <a:pt x="186" y="254"/>
                  </a:lnTo>
                  <a:lnTo>
                    <a:pt x="202" y="248"/>
                  </a:lnTo>
                  <a:lnTo>
                    <a:pt x="218" y="240"/>
                  </a:lnTo>
                  <a:lnTo>
                    <a:pt x="238" y="276"/>
                  </a:lnTo>
                  <a:lnTo>
                    <a:pt x="212" y="292"/>
                  </a:lnTo>
                  <a:lnTo>
                    <a:pt x="182" y="300"/>
                  </a:lnTo>
                  <a:lnTo>
                    <a:pt x="147" y="304"/>
                  </a:lnTo>
                  <a:lnTo>
                    <a:pt x="111" y="302"/>
                  </a:lnTo>
                  <a:lnTo>
                    <a:pt x="81" y="292"/>
                  </a:lnTo>
                  <a:lnTo>
                    <a:pt x="58" y="278"/>
                  </a:lnTo>
                  <a:lnTo>
                    <a:pt x="36" y="260"/>
                  </a:lnTo>
                  <a:lnTo>
                    <a:pt x="20" y="238"/>
                  </a:lnTo>
                  <a:lnTo>
                    <a:pt x="10" y="214"/>
                  </a:lnTo>
                  <a:lnTo>
                    <a:pt x="2" y="185"/>
                  </a:lnTo>
                  <a:lnTo>
                    <a:pt x="0" y="153"/>
                  </a:lnTo>
                  <a:lnTo>
                    <a:pt x="4" y="121"/>
                  </a:lnTo>
                  <a:lnTo>
                    <a:pt x="10" y="90"/>
                  </a:lnTo>
                  <a:lnTo>
                    <a:pt x="24" y="64"/>
                  </a:lnTo>
                  <a:lnTo>
                    <a:pt x="40" y="42"/>
                  </a:lnTo>
                  <a:lnTo>
                    <a:pt x="62" y="24"/>
                  </a:lnTo>
                  <a:lnTo>
                    <a:pt x="87" y="10"/>
                  </a:lnTo>
                  <a:lnTo>
                    <a:pt x="115" y="2"/>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6" name="Freeform 48">
              <a:extLst>
                <a:ext uri="{FF2B5EF4-FFF2-40B4-BE49-F238E27FC236}">
                  <a16:creationId xmlns:a16="http://schemas.microsoft.com/office/drawing/2014/main" id="{0FF5045E-2102-42D7-A0CC-EBD7AA4189E4}"/>
                </a:ext>
              </a:extLst>
            </p:cNvPr>
            <p:cNvSpPr>
              <a:spLocks noEditPoints="1"/>
            </p:cNvSpPr>
            <p:nvPr userDrawn="1"/>
          </p:nvSpPr>
          <p:spPr bwMode="auto">
            <a:xfrm>
              <a:off x="3209680" y="1310097"/>
              <a:ext cx="112861" cy="134024"/>
            </a:xfrm>
            <a:custGeom>
              <a:avLst/>
              <a:gdLst>
                <a:gd name="T0" fmla="*/ 138 w 255"/>
                <a:gd name="T1" fmla="*/ 42 h 304"/>
                <a:gd name="T2" fmla="*/ 117 w 255"/>
                <a:gd name="T3" fmla="*/ 46 h 304"/>
                <a:gd name="T4" fmla="*/ 97 w 255"/>
                <a:gd name="T5" fmla="*/ 52 h 304"/>
                <a:gd name="T6" fmla="*/ 79 w 255"/>
                <a:gd name="T7" fmla="*/ 66 h 304"/>
                <a:gd name="T8" fmla="*/ 67 w 255"/>
                <a:gd name="T9" fmla="*/ 82 h 304"/>
                <a:gd name="T10" fmla="*/ 57 w 255"/>
                <a:gd name="T11" fmla="*/ 101 h 304"/>
                <a:gd name="T12" fmla="*/ 51 w 255"/>
                <a:gd name="T13" fmla="*/ 125 h 304"/>
                <a:gd name="T14" fmla="*/ 208 w 255"/>
                <a:gd name="T15" fmla="*/ 125 h 304"/>
                <a:gd name="T16" fmla="*/ 208 w 255"/>
                <a:gd name="T17" fmla="*/ 119 h 304"/>
                <a:gd name="T18" fmla="*/ 206 w 255"/>
                <a:gd name="T19" fmla="*/ 97 h 304"/>
                <a:gd name="T20" fmla="*/ 200 w 255"/>
                <a:gd name="T21" fmla="*/ 78 h 304"/>
                <a:gd name="T22" fmla="*/ 190 w 255"/>
                <a:gd name="T23" fmla="*/ 64 h 304"/>
                <a:gd name="T24" fmla="*/ 176 w 255"/>
                <a:gd name="T25" fmla="*/ 52 h 304"/>
                <a:gd name="T26" fmla="*/ 158 w 255"/>
                <a:gd name="T27" fmla="*/ 46 h 304"/>
                <a:gd name="T28" fmla="*/ 138 w 255"/>
                <a:gd name="T29" fmla="*/ 42 h 304"/>
                <a:gd name="T30" fmla="*/ 136 w 255"/>
                <a:gd name="T31" fmla="*/ 0 h 304"/>
                <a:gd name="T32" fmla="*/ 164 w 255"/>
                <a:gd name="T33" fmla="*/ 2 h 304"/>
                <a:gd name="T34" fmla="*/ 188 w 255"/>
                <a:gd name="T35" fmla="*/ 10 h 304"/>
                <a:gd name="T36" fmla="*/ 210 w 255"/>
                <a:gd name="T37" fmla="*/ 20 h 304"/>
                <a:gd name="T38" fmla="*/ 226 w 255"/>
                <a:gd name="T39" fmla="*/ 36 h 304"/>
                <a:gd name="T40" fmla="*/ 240 w 255"/>
                <a:gd name="T41" fmla="*/ 56 h 304"/>
                <a:gd name="T42" fmla="*/ 249 w 255"/>
                <a:gd name="T43" fmla="*/ 78 h 304"/>
                <a:gd name="T44" fmla="*/ 253 w 255"/>
                <a:gd name="T45" fmla="*/ 103 h 304"/>
                <a:gd name="T46" fmla="*/ 255 w 255"/>
                <a:gd name="T47" fmla="*/ 129 h 304"/>
                <a:gd name="T48" fmla="*/ 253 w 255"/>
                <a:gd name="T49" fmla="*/ 165 h 304"/>
                <a:gd name="T50" fmla="*/ 51 w 255"/>
                <a:gd name="T51" fmla="*/ 165 h 304"/>
                <a:gd name="T52" fmla="*/ 55 w 255"/>
                <a:gd name="T53" fmla="*/ 193 h 304"/>
                <a:gd name="T54" fmla="*/ 65 w 255"/>
                <a:gd name="T55" fmla="*/ 216 h 304"/>
                <a:gd name="T56" fmla="*/ 79 w 255"/>
                <a:gd name="T57" fmla="*/ 234 h 304"/>
                <a:gd name="T58" fmla="*/ 97 w 255"/>
                <a:gd name="T59" fmla="*/ 248 h 304"/>
                <a:gd name="T60" fmla="*/ 123 w 255"/>
                <a:gd name="T61" fmla="*/ 256 h 304"/>
                <a:gd name="T62" fmla="*/ 150 w 255"/>
                <a:gd name="T63" fmla="*/ 260 h 304"/>
                <a:gd name="T64" fmla="*/ 178 w 255"/>
                <a:gd name="T65" fmla="*/ 256 h 304"/>
                <a:gd name="T66" fmla="*/ 204 w 255"/>
                <a:gd name="T67" fmla="*/ 248 h 304"/>
                <a:gd name="T68" fmla="*/ 224 w 255"/>
                <a:gd name="T69" fmla="*/ 236 h 304"/>
                <a:gd name="T70" fmla="*/ 245 w 255"/>
                <a:gd name="T71" fmla="*/ 270 h 304"/>
                <a:gd name="T72" fmla="*/ 226 w 255"/>
                <a:gd name="T73" fmla="*/ 286 h 304"/>
                <a:gd name="T74" fmla="*/ 202 w 255"/>
                <a:gd name="T75" fmla="*/ 296 h 304"/>
                <a:gd name="T76" fmla="*/ 174 w 255"/>
                <a:gd name="T77" fmla="*/ 302 h 304"/>
                <a:gd name="T78" fmla="*/ 146 w 255"/>
                <a:gd name="T79" fmla="*/ 304 h 304"/>
                <a:gd name="T80" fmla="*/ 115 w 255"/>
                <a:gd name="T81" fmla="*/ 302 h 304"/>
                <a:gd name="T82" fmla="*/ 85 w 255"/>
                <a:gd name="T83" fmla="*/ 294 h 304"/>
                <a:gd name="T84" fmla="*/ 59 w 255"/>
                <a:gd name="T85" fmla="*/ 282 h 304"/>
                <a:gd name="T86" fmla="*/ 39 w 255"/>
                <a:gd name="T87" fmla="*/ 264 h 304"/>
                <a:gd name="T88" fmla="*/ 22 w 255"/>
                <a:gd name="T89" fmla="*/ 242 h 304"/>
                <a:gd name="T90" fmla="*/ 10 w 255"/>
                <a:gd name="T91" fmla="*/ 216 h 304"/>
                <a:gd name="T92" fmla="*/ 2 w 255"/>
                <a:gd name="T93" fmla="*/ 185 h 304"/>
                <a:gd name="T94" fmla="*/ 0 w 255"/>
                <a:gd name="T95" fmla="*/ 149 h 304"/>
                <a:gd name="T96" fmla="*/ 2 w 255"/>
                <a:gd name="T97" fmla="*/ 115 h 304"/>
                <a:gd name="T98" fmla="*/ 10 w 255"/>
                <a:gd name="T99" fmla="*/ 86 h 304"/>
                <a:gd name="T100" fmla="*/ 22 w 255"/>
                <a:gd name="T101" fmla="*/ 60 h 304"/>
                <a:gd name="T102" fmla="*/ 39 w 255"/>
                <a:gd name="T103" fmla="*/ 40 h 304"/>
                <a:gd name="T104" fmla="*/ 59 w 255"/>
                <a:gd name="T105" fmla="*/ 22 h 304"/>
                <a:gd name="T106" fmla="*/ 83 w 255"/>
                <a:gd name="T107" fmla="*/ 10 h 304"/>
                <a:gd name="T108" fmla="*/ 109 w 255"/>
                <a:gd name="T109" fmla="*/ 2 h 304"/>
                <a:gd name="T110" fmla="*/ 136 w 255"/>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304">
                  <a:moveTo>
                    <a:pt x="138"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8" y="46"/>
                  </a:lnTo>
                  <a:lnTo>
                    <a:pt x="138" y="42"/>
                  </a:lnTo>
                  <a:close/>
                  <a:moveTo>
                    <a:pt x="136" y="0"/>
                  </a:moveTo>
                  <a:lnTo>
                    <a:pt x="164" y="2"/>
                  </a:lnTo>
                  <a:lnTo>
                    <a:pt x="188" y="10"/>
                  </a:lnTo>
                  <a:lnTo>
                    <a:pt x="210" y="20"/>
                  </a:lnTo>
                  <a:lnTo>
                    <a:pt x="226" y="36"/>
                  </a:lnTo>
                  <a:lnTo>
                    <a:pt x="240" y="56"/>
                  </a:lnTo>
                  <a:lnTo>
                    <a:pt x="249" y="78"/>
                  </a:lnTo>
                  <a:lnTo>
                    <a:pt x="253" y="103"/>
                  </a:lnTo>
                  <a:lnTo>
                    <a:pt x="255" y="129"/>
                  </a:lnTo>
                  <a:lnTo>
                    <a:pt x="253" y="165"/>
                  </a:lnTo>
                  <a:lnTo>
                    <a:pt x="51" y="165"/>
                  </a:lnTo>
                  <a:lnTo>
                    <a:pt x="55" y="193"/>
                  </a:lnTo>
                  <a:lnTo>
                    <a:pt x="65" y="216"/>
                  </a:lnTo>
                  <a:lnTo>
                    <a:pt x="79" y="234"/>
                  </a:lnTo>
                  <a:lnTo>
                    <a:pt x="97" y="248"/>
                  </a:lnTo>
                  <a:lnTo>
                    <a:pt x="123" y="256"/>
                  </a:lnTo>
                  <a:lnTo>
                    <a:pt x="150" y="260"/>
                  </a:lnTo>
                  <a:lnTo>
                    <a:pt x="178" y="256"/>
                  </a:lnTo>
                  <a:lnTo>
                    <a:pt x="204" y="248"/>
                  </a:lnTo>
                  <a:lnTo>
                    <a:pt x="224" y="236"/>
                  </a:lnTo>
                  <a:lnTo>
                    <a:pt x="245" y="270"/>
                  </a:lnTo>
                  <a:lnTo>
                    <a:pt x="226" y="286"/>
                  </a:lnTo>
                  <a:lnTo>
                    <a:pt x="202" y="296"/>
                  </a:lnTo>
                  <a:lnTo>
                    <a:pt x="174" y="302"/>
                  </a:lnTo>
                  <a:lnTo>
                    <a:pt x="146" y="304"/>
                  </a:lnTo>
                  <a:lnTo>
                    <a:pt x="115" y="302"/>
                  </a:lnTo>
                  <a:lnTo>
                    <a:pt x="85" y="294"/>
                  </a:lnTo>
                  <a:lnTo>
                    <a:pt x="59" y="282"/>
                  </a:lnTo>
                  <a:lnTo>
                    <a:pt x="39" y="264"/>
                  </a:lnTo>
                  <a:lnTo>
                    <a:pt x="22" y="242"/>
                  </a:lnTo>
                  <a:lnTo>
                    <a:pt x="10" y="216"/>
                  </a:lnTo>
                  <a:lnTo>
                    <a:pt x="2" y="185"/>
                  </a:lnTo>
                  <a:lnTo>
                    <a:pt x="0" y="149"/>
                  </a:lnTo>
                  <a:lnTo>
                    <a:pt x="2" y="115"/>
                  </a:lnTo>
                  <a:lnTo>
                    <a:pt x="10" y="86"/>
                  </a:lnTo>
                  <a:lnTo>
                    <a:pt x="22" y="60"/>
                  </a:lnTo>
                  <a:lnTo>
                    <a:pt x="39" y="40"/>
                  </a:lnTo>
                  <a:lnTo>
                    <a:pt x="59" y="22"/>
                  </a:lnTo>
                  <a:lnTo>
                    <a:pt x="83" y="10"/>
                  </a:lnTo>
                  <a:lnTo>
                    <a:pt x="109" y="2"/>
                  </a:lnTo>
                  <a:lnTo>
                    <a:pt x="13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7" name="Freeform 49">
              <a:extLst>
                <a:ext uri="{FF2B5EF4-FFF2-40B4-BE49-F238E27FC236}">
                  <a16:creationId xmlns:a16="http://schemas.microsoft.com/office/drawing/2014/main" id="{19251725-1FBD-4883-8F5A-1BADCC56CBB0}"/>
                </a:ext>
              </a:extLst>
            </p:cNvPr>
            <p:cNvSpPr>
              <a:spLocks/>
            </p:cNvSpPr>
            <p:nvPr userDrawn="1"/>
          </p:nvSpPr>
          <p:spPr bwMode="auto">
            <a:xfrm>
              <a:off x="1985837" y="1577266"/>
              <a:ext cx="182519" cy="126969"/>
            </a:xfrm>
            <a:custGeom>
              <a:avLst/>
              <a:gdLst>
                <a:gd name="T0" fmla="*/ 0 w 414"/>
                <a:gd name="T1" fmla="*/ 0 h 287"/>
                <a:gd name="T2" fmla="*/ 56 w 414"/>
                <a:gd name="T3" fmla="*/ 0 h 287"/>
                <a:gd name="T4" fmla="*/ 117 w 414"/>
                <a:gd name="T5" fmla="*/ 232 h 287"/>
                <a:gd name="T6" fmla="*/ 185 w 414"/>
                <a:gd name="T7" fmla="*/ 22 h 287"/>
                <a:gd name="T8" fmla="*/ 236 w 414"/>
                <a:gd name="T9" fmla="*/ 22 h 287"/>
                <a:gd name="T10" fmla="*/ 301 w 414"/>
                <a:gd name="T11" fmla="*/ 236 h 287"/>
                <a:gd name="T12" fmla="*/ 363 w 414"/>
                <a:gd name="T13" fmla="*/ 0 h 287"/>
                <a:gd name="T14" fmla="*/ 414 w 414"/>
                <a:gd name="T15" fmla="*/ 0 h 287"/>
                <a:gd name="T16" fmla="*/ 325 w 414"/>
                <a:gd name="T17" fmla="*/ 287 h 287"/>
                <a:gd name="T18" fmla="*/ 274 w 414"/>
                <a:gd name="T19" fmla="*/ 287 h 287"/>
                <a:gd name="T20" fmla="*/ 208 w 414"/>
                <a:gd name="T21" fmla="*/ 81 h 287"/>
                <a:gd name="T22" fmla="*/ 141 w 414"/>
                <a:gd name="T23" fmla="*/ 287 h 287"/>
                <a:gd name="T24" fmla="*/ 89 w 414"/>
                <a:gd name="T25" fmla="*/ 287 h 287"/>
                <a:gd name="T26" fmla="*/ 0 w 414"/>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4" h="287">
                  <a:moveTo>
                    <a:pt x="0" y="0"/>
                  </a:moveTo>
                  <a:lnTo>
                    <a:pt x="56" y="0"/>
                  </a:lnTo>
                  <a:lnTo>
                    <a:pt x="117" y="232"/>
                  </a:lnTo>
                  <a:lnTo>
                    <a:pt x="185" y="22"/>
                  </a:lnTo>
                  <a:lnTo>
                    <a:pt x="236" y="22"/>
                  </a:lnTo>
                  <a:lnTo>
                    <a:pt x="301" y="236"/>
                  </a:lnTo>
                  <a:lnTo>
                    <a:pt x="363" y="0"/>
                  </a:lnTo>
                  <a:lnTo>
                    <a:pt x="414" y="0"/>
                  </a:lnTo>
                  <a:lnTo>
                    <a:pt x="325" y="287"/>
                  </a:lnTo>
                  <a:lnTo>
                    <a:pt x="274" y="287"/>
                  </a:lnTo>
                  <a:lnTo>
                    <a:pt x="208" y="81"/>
                  </a:lnTo>
                  <a:lnTo>
                    <a:pt x="141" y="287"/>
                  </a:lnTo>
                  <a:lnTo>
                    <a:pt x="89" y="28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8" name="Freeform 50">
              <a:extLst>
                <a:ext uri="{FF2B5EF4-FFF2-40B4-BE49-F238E27FC236}">
                  <a16:creationId xmlns:a16="http://schemas.microsoft.com/office/drawing/2014/main" id="{C2E0895B-89F4-4E55-807A-1238961D2522}"/>
                </a:ext>
              </a:extLst>
            </p:cNvPr>
            <p:cNvSpPr>
              <a:spLocks/>
            </p:cNvSpPr>
            <p:nvPr userDrawn="1"/>
          </p:nvSpPr>
          <p:spPr bwMode="auto">
            <a:xfrm>
              <a:off x="2188636" y="1522596"/>
              <a:ext cx="110217" cy="181637"/>
            </a:xfrm>
            <a:custGeom>
              <a:avLst/>
              <a:gdLst>
                <a:gd name="T0" fmla="*/ 0 w 252"/>
                <a:gd name="T1" fmla="*/ 0 h 412"/>
                <a:gd name="T2" fmla="*/ 52 w 252"/>
                <a:gd name="T3" fmla="*/ 0 h 412"/>
                <a:gd name="T4" fmla="*/ 52 w 252"/>
                <a:gd name="T5" fmla="*/ 166 h 412"/>
                <a:gd name="T6" fmla="*/ 67 w 252"/>
                <a:gd name="T7" fmla="*/ 147 h 412"/>
                <a:gd name="T8" fmla="*/ 89 w 252"/>
                <a:gd name="T9" fmla="*/ 131 h 412"/>
                <a:gd name="T10" fmla="*/ 117 w 252"/>
                <a:gd name="T11" fmla="*/ 121 h 412"/>
                <a:gd name="T12" fmla="*/ 149 w 252"/>
                <a:gd name="T13" fmla="*/ 117 h 412"/>
                <a:gd name="T14" fmla="*/ 178 w 252"/>
                <a:gd name="T15" fmla="*/ 121 h 412"/>
                <a:gd name="T16" fmla="*/ 204 w 252"/>
                <a:gd name="T17" fmla="*/ 129 h 412"/>
                <a:gd name="T18" fmla="*/ 224 w 252"/>
                <a:gd name="T19" fmla="*/ 145 h 412"/>
                <a:gd name="T20" fmla="*/ 240 w 252"/>
                <a:gd name="T21" fmla="*/ 166 h 412"/>
                <a:gd name="T22" fmla="*/ 248 w 252"/>
                <a:gd name="T23" fmla="*/ 194 h 412"/>
                <a:gd name="T24" fmla="*/ 252 w 252"/>
                <a:gd name="T25" fmla="*/ 228 h 412"/>
                <a:gd name="T26" fmla="*/ 252 w 252"/>
                <a:gd name="T27" fmla="*/ 412 h 412"/>
                <a:gd name="T28" fmla="*/ 200 w 252"/>
                <a:gd name="T29" fmla="*/ 412 h 412"/>
                <a:gd name="T30" fmla="*/ 200 w 252"/>
                <a:gd name="T31" fmla="*/ 234 h 412"/>
                <a:gd name="T32" fmla="*/ 198 w 252"/>
                <a:gd name="T33" fmla="*/ 210 h 412"/>
                <a:gd name="T34" fmla="*/ 192 w 252"/>
                <a:gd name="T35" fmla="*/ 192 h 412"/>
                <a:gd name="T36" fmla="*/ 184 w 252"/>
                <a:gd name="T37" fmla="*/ 178 h 412"/>
                <a:gd name="T38" fmla="*/ 172 w 252"/>
                <a:gd name="T39" fmla="*/ 168 h 412"/>
                <a:gd name="T40" fmla="*/ 157 w 252"/>
                <a:gd name="T41" fmla="*/ 162 h 412"/>
                <a:gd name="T42" fmla="*/ 137 w 252"/>
                <a:gd name="T43" fmla="*/ 160 h 412"/>
                <a:gd name="T44" fmla="*/ 113 w 252"/>
                <a:gd name="T45" fmla="*/ 164 h 412"/>
                <a:gd name="T46" fmla="*/ 91 w 252"/>
                <a:gd name="T47" fmla="*/ 172 h 412"/>
                <a:gd name="T48" fmla="*/ 75 w 252"/>
                <a:gd name="T49" fmla="*/ 186 h 412"/>
                <a:gd name="T50" fmla="*/ 61 w 252"/>
                <a:gd name="T51" fmla="*/ 206 h 412"/>
                <a:gd name="T52" fmla="*/ 54 w 252"/>
                <a:gd name="T53" fmla="*/ 230 h 412"/>
                <a:gd name="T54" fmla="*/ 52 w 252"/>
                <a:gd name="T55" fmla="*/ 259 h 412"/>
                <a:gd name="T56" fmla="*/ 52 w 252"/>
                <a:gd name="T57" fmla="*/ 412 h 412"/>
                <a:gd name="T58" fmla="*/ 0 w 252"/>
                <a:gd name="T59" fmla="*/ 412 h 412"/>
                <a:gd name="T60" fmla="*/ 0 w 252"/>
                <a:gd name="T61"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2" h="412">
                  <a:moveTo>
                    <a:pt x="0" y="0"/>
                  </a:moveTo>
                  <a:lnTo>
                    <a:pt x="52" y="0"/>
                  </a:lnTo>
                  <a:lnTo>
                    <a:pt x="52" y="166"/>
                  </a:lnTo>
                  <a:lnTo>
                    <a:pt x="67" y="147"/>
                  </a:lnTo>
                  <a:lnTo>
                    <a:pt x="89" y="131"/>
                  </a:lnTo>
                  <a:lnTo>
                    <a:pt x="117" y="121"/>
                  </a:lnTo>
                  <a:lnTo>
                    <a:pt x="149" y="117"/>
                  </a:lnTo>
                  <a:lnTo>
                    <a:pt x="178" y="121"/>
                  </a:lnTo>
                  <a:lnTo>
                    <a:pt x="204" y="129"/>
                  </a:lnTo>
                  <a:lnTo>
                    <a:pt x="224" y="145"/>
                  </a:lnTo>
                  <a:lnTo>
                    <a:pt x="240" y="166"/>
                  </a:lnTo>
                  <a:lnTo>
                    <a:pt x="248" y="194"/>
                  </a:lnTo>
                  <a:lnTo>
                    <a:pt x="252" y="228"/>
                  </a:lnTo>
                  <a:lnTo>
                    <a:pt x="252" y="412"/>
                  </a:lnTo>
                  <a:lnTo>
                    <a:pt x="200" y="412"/>
                  </a:lnTo>
                  <a:lnTo>
                    <a:pt x="200" y="234"/>
                  </a:lnTo>
                  <a:lnTo>
                    <a:pt x="198" y="210"/>
                  </a:lnTo>
                  <a:lnTo>
                    <a:pt x="192" y="192"/>
                  </a:lnTo>
                  <a:lnTo>
                    <a:pt x="184" y="178"/>
                  </a:lnTo>
                  <a:lnTo>
                    <a:pt x="172" y="168"/>
                  </a:lnTo>
                  <a:lnTo>
                    <a:pt x="157" y="162"/>
                  </a:lnTo>
                  <a:lnTo>
                    <a:pt x="137" y="160"/>
                  </a:lnTo>
                  <a:lnTo>
                    <a:pt x="113" y="164"/>
                  </a:lnTo>
                  <a:lnTo>
                    <a:pt x="91" y="172"/>
                  </a:lnTo>
                  <a:lnTo>
                    <a:pt x="75" y="186"/>
                  </a:lnTo>
                  <a:lnTo>
                    <a:pt x="61" y="206"/>
                  </a:lnTo>
                  <a:lnTo>
                    <a:pt x="54" y="230"/>
                  </a:lnTo>
                  <a:lnTo>
                    <a:pt x="52" y="259"/>
                  </a:lnTo>
                  <a:lnTo>
                    <a:pt x="52" y="412"/>
                  </a:lnTo>
                  <a:lnTo>
                    <a:pt x="0" y="412"/>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9" name="Freeform 51">
              <a:extLst>
                <a:ext uri="{FF2B5EF4-FFF2-40B4-BE49-F238E27FC236}">
                  <a16:creationId xmlns:a16="http://schemas.microsoft.com/office/drawing/2014/main" id="{8D4727C5-D8A6-4FE8-BE4B-DDEFDAAF63A6}"/>
                </a:ext>
              </a:extLst>
            </p:cNvPr>
            <p:cNvSpPr>
              <a:spLocks noEditPoints="1"/>
            </p:cNvSpPr>
            <p:nvPr userDrawn="1"/>
          </p:nvSpPr>
          <p:spPr bwMode="auto">
            <a:xfrm>
              <a:off x="2325304" y="1573735"/>
              <a:ext cx="114625" cy="134024"/>
            </a:xfrm>
            <a:custGeom>
              <a:avLst/>
              <a:gdLst>
                <a:gd name="T0" fmla="*/ 89 w 260"/>
                <a:gd name="T1" fmla="*/ 164 h 303"/>
                <a:gd name="T2" fmla="*/ 54 w 260"/>
                <a:gd name="T3" fmla="*/ 190 h 303"/>
                <a:gd name="T4" fmla="*/ 54 w 260"/>
                <a:gd name="T5" fmla="*/ 232 h 303"/>
                <a:gd name="T6" fmla="*/ 79 w 260"/>
                <a:gd name="T7" fmla="*/ 255 h 303"/>
                <a:gd name="T8" fmla="*/ 123 w 260"/>
                <a:gd name="T9" fmla="*/ 257 h 303"/>
                <a:gd name="T10" fmla="*/ 147 w 260"/>
                <a:gd name="T11" fmla="*/ 248 h 303"/>
                <a:gd name="T12" fmla="*/ 163 w 260"/>
                <a:gd name="T13" fmla="*/ 236 h 303"/>
                <a:gd name="T14" fmla="*/ 173 w 260"/>
                <a:gd name="T15" fmla="*/ 220 h 303"/>
                <a:gd name="T16" fmla="*/ 182 w 260"/>
                <a:gd name="T17" fmla="*/ 176 h 303"/>
                <a:gd name="T18" fmla="*/ 119 w 260"/>
                <a:gd name="T19" fmla="*/ 162 h 303"/>
                <a:gd name="T20" fmla="*/ 163 w 260"/>
                <a:gd name="T21" fmla="*/ 6 h 303"/>
                <a:gd name="T22" fmla="*/ 198 w 260"/>
                <a:gd name="T23" fmla="*/ 24 h 303"/>
                <a:gd name="T24" fmla="*/ 222 w 260"/>
                <a:gd name="T25" fmla="*/ 55 h 303"/>
                <a:gd name="T26" fmla="*/ 230 w 260"/>
                <a:gd name="T27" fmla="*/ 107 h 303"/>
                <a:gd name="T28" fmla="*/ 232 w 260"/>
                <a:gd name="T29" fmla="*/ 244 h 303"/>
                <a:gd name="T30" fmla="*/ 236 w 260"/>
                <a:gd name="T31" fmla="*/ 253 h 303"/>
                <a:gd name="T32" fmla="*/ 246 w 260"/>
                <a:gd name="T33" fmla="*/ 257 h 303"/>
                <a:gd name="T34" fmla="*/ 260 w 260"/>
                <a:gd name="T35" fmla="*/ 257 h 303"/>
                <a:gd name="T36" fmla="*/ 254 w 260"/>
                <a:gd name="T37" fmla="*/ 295 h 303"/>
                <a:gd name="T38" fmla="*/ 234 w 260"/>
                <a:gd name="T39" fmla="*/ 297 h 303"/>
                <a:gd name="T40" fmla="*/ 200 w 260"/>
                <a:gd name="T41" fmla="*/ 285 h 303"/>
                <a:gd name="T42" fmla="*/ 188 w 260"/>
                <a:gd name="T43" fmla="*/ 251 h 303"/>
                <a:gd name="T44" fmla="*/ 153 w 260"/>
                <a:gd name="T45" fmla="*/ 289 h 303"/>
                <a:gd name="T46" fmla="*/ 95 w 260"/>
                <a:gd name="T47" fmla="*/ 303 h 303"/>
                <a:gd name="T48" fmla="*/ 54 w 260"/>
                <a:gd name="T49" fmla="*/ 295 h 303"/>
                <a:gd name="T50" fmla="*/ 34 w 260"/>
                <a:gd name="T51" fmla="*/ 285 h 303"/>
                <a:gd name="T52" fmla="*/ 18 w 260"/>
                <a:gd name="T53" fmla="*/ 269 h 303"/>
                <a:gd name="T54" fmla="*/ 6 w 260"/>
                <a:gd name="T55" fmla="*/ 249 h 303"/>
                <a:gd name="T56" fmla="*/ 0 w 260"/>
                <a:gd name="T57" fmla="*/ 214 h 303"/>
                <a:gd name="T58" fmla="*/ 10 w 260"/>
                <a:gd name="T59" fmla="*/ 172 h 303"/>
                <a:gd name="T60" fmla="*/ 26 w 260"/>
                <a:gd name="T61" fmla="*/ 152 h 303"/>
                <a:gd name="T62" fmla="*/ 54 w 260"/>
                <a:gd name="T63" fmla="*/ 137 h 303"/>
                <a:gd name="T64" fmla="*/ 119 w 260"/>
                <a:gd name="T65" fmla="*/ 125 h 303"/>
                <a:gd name="T66" fmla="*/ 182 w 260"/>
                <a:gd name="T67" fmla="*/ 107 h 303"/>
                <a:gd name="T68" fmla="*/ 167 w 260"/>
                <a:gd name="T69" fmla="*/ 59 h 303"/>
                <a:gd name="T70" fmla="*/ 137 w 260"/>
                <a:gd name="T71" fmla="*/ 43 h 303"/>
                <a:gd name="T72" fmla="*/ 91 w 260"/>
                <a:gd name="T73" fmla="*/ 43 h 303"/>
                <a:gd name="T74" fmla="*/ 50 w 260"/>
                <a:gd name="T75" fmla="*/ 57 h 303"/>
                <a:gd name="T76" fmla="*/ 8 w 260"/>
                <a:gd name="T77" fmla="*/ 35 h 303"/>
                <a:gd name="T78" fmla="*/ 60 w 260"/>
                <a:gd name="T79" fmla="*/ 8 h 303"/>
                <a:gd name="T80" fmla="*/ 119 w 260"/>
                <a:gd name="T8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303">
                  <a:moveTo>
                    <a:pt x="119" y="162"/>
                  </a:moveTo>
                  <a:lnTo>
                    <a:pt x="89" y="164"/>
                  </a:lnTo>
                  <a:lnTo>
                    <a:pt x="68" y="174"/>
                  </a:lnTo>
                  <a:lnTo>
                    <a:pt x="54" y="190"/>
                  </a:lnTo>
                  <a:lnTo>
                    <a:pt x="50" y="212"/>
                  </a:lnTo>
                  <a:lnTo>
                    <a:pt x="54" y="232"/>
                  </a:lnTo>
                  <a:lnTo>
                    <a:pt x="64" y="248"/>
                  </a:lnTo>
                  <a:lnTo>
                    <a:pt x="79" y="255"/>
                  </a:lnTo>
                  <a:lnTo>
                    <a:pt x="105" y="259"/>
                  </a:lnTo>
                  <a:lnTo>
                    <a:pt x="123" y="257"/>
                  </a:lnTo>
                  <a:lnTo>
                    <a:pt x="137" y="253"/>
                  </a:lnTo>
                  <a:lnTo>
                    <a:pt x="147" y="248"/>
                  </a:lnTo>
                  <a:lnTo>
                    <a:pt x="155" y="244"/>
                  </a:lnTo>
                  <a:lnTo>
                    <a:pt x="163" y="236"/>
                  </a:lnTo>
                  <a:lnTo>
                    <a:pt x="169" y="228"/>
                  </a:lnTo>
                  <a:lnTo>
                    <a:pt x="173" y="220"/>
                  </a:lnTo>
                  <a:lnTo>
                    <a:pt x="177" y="210"/>
                  </a:lnTo>
                  <a:lnTo>
                    <a:pt x="182" y="176"/>
                  </a:lnTo>
                  <a:lnTo>
                    <a:pt x="182" y="162"/>
                  </a:lnTo>
                  <a:lnTo>
                    <a:pt x="119" y="162"/>
                  </a:lnTo>
                  <a:close/>
                  <a:moveTo>
                    <a:pt x="119" y="0"/>
                  </a:moveTo>
                  <a:lnTo>
                    <a:pt x="163" y="6"/>
                  </a:lnTo>
                  <a:lnTo>
                    <a:pt x="180" y="12"/>
                  </a:lnTo>
                  <a:lnTo>
                    <a:pt x="198" y="24"/>
                  </a:lnTo>
                  <a:lnTo>
                    <a:pt x="212" y="37"/>
                  </a:lnTo>
                  <a:lnTo>
                    <a:pt x="222" y="55"/>
                  </a:lnTo>
                  <a:lnTo>
                    <a:pt x="228" y="79"/>
                  </a:lnTo>
                  <a:lnTo>
                    <a:pt x="230" y="107"/>
                  </a:lnTo>
                  <a:lnTo>
                    <a:pt x="230" y="236"/>
                  </a:lnTo>
                  <a:lnTo>
                    <a:pt x="232" y="244"/>
                  </a:lnTo>
                  <a:lnTo>
                    <a:pt x="232" y="249"/>
                  </a:lnTo>
                  <a:lnTo>
                    <a:pt x="236" y="253"/>
                  </a:lnTo>
                  <a:lnTo>
                    <a:pt x="240" y="255"/>
                  </a:lnTo>
                  <a:lnTo>
                    <a:pt x="246" y="257"/>
                  </a:lnTo>
                  <a:lnTo>
                    <a:pt x="254" y="257"/>
                  </a:lnTo>
                  <a:lnTo>
                    <a:pt x="260" y="257"/>
                  </a:lnTo>
                  <a:lnTo>
                    <a:pt x="260" y="293"/>
                  </a:lnTo>
                  <a:lnTo>
                    <a:pt x="254" y="295"/>
                  </a:lnTo>
                  <a:lnTo>
                    <a:pt x="248" y="297"/>
                  </a:lnTo>
                  <a:lnTo>
                    <a:pt x="234" y="297"/>
                  </a:lnTo>
                  <a:lnTo>
                    <a:pt x="214" y="295"/>
                  </a:lnTo>
                  <a:lnTo>
                    <a:pt x="200" y="285"/>
                  </a:lnTo>
                  <a:lnTo>
                    <a:pt x="192" y="271"/>
                  </a:lnTo>
                  <a:lnTo>
                    <a:pt x="188" y="251"/>
                  </a:lnTo>
                  <a:lnTo>
                    <a:pt x="173" y="273"/>
                  </a:lnTo>
                  <a:lnTo>
                    <a:pt x="153" y="289"/>
                  </a:lnTo>
                  <a:lnTo>
                    <a:pt x="125" y="299"/>
                  </a:lnTo>
                  <a:lnTo>
                    <a:pt x="95" y="303"/>
                  </a:lnTo>
                  <a:lnTo>
                    <a:pt x="73" y="301"/>
                  </a:lnTo>
                  <a:lnTo>
                    <a:pt x="54" y="295"/>
                  </a:lnTo>
                  <a:lnTo>
                    <a:pt x="44" y="291"/>
                  </a:lnTo>
                  <a:lnTo>
                    <a:pt x="34" y="285"/>
                  </a:lnTo>
                  <a:lnTo>
                    <a:pt x="24" y="277"/>
                  </a:lnTo>
                  <a:lnTo>
                    <a:pt x="18" y="269"/>
                  </a:lnTo>
                  <a:lnTo>
                    <a:pt x="12" y="259"/>
                  </a:lnTo>
                  <a:lnTo>
                    <a:pt x="6" y="249"/>
                  </a:lnTo>
                  <a:lnTo>
                    <a:pt x="2" y="232"/>
                  </a:lnTo>
                  <a:lnTo>
                    <a:pt x="0" y="214"/>
                  </a:lnTo>
                  <a:lnTo>
                    <a:pt x="2" y="192"/>
                  </a:lnTo>
                  <a:lnTo>
                    <a:pt x="10" y="172"/>
                  </a:lnTo>
                  <a:lnTo>
                    <a:pt x="18" y="162"/>
                  </a:lnTo>
                  <a:lnTo>
                    <a:pt x="26" y="152"/>
                  </a:lnTo>
                  <a:lnTo>
                    <a:pt x="36" y="144"/>
                  </a:lnTo>
                  <a:lnTo>
                    <a:pt x="54" y="137"/>
                  </a:lnTo>
                  <a:lnTo>
                    <a:pt x="73" y="129"/>
                  </a:lnTo>
                  <a:lnTo>
                    <a:pt x="119" y="125"/>
                  </a:lnTo>
                  <a:lnTo>
                    <a:pt x="182" y="125"/>
                  </a:lnTo>
                  <a:lnTo>
                    <a:pt x="182" y="107"/>
                  </a:lnTo>
                  <a:lnTo>
                    <a:pt x="179" y="79"/>
                  </a:lnTo>
                  <a:lnTo>
                    <a:pt x="167" y="59"/>
                  </a:lnTo>
                  <a:lnTo>
                    <a:pt x="155" y="49"/>
                  </a:lnTo>
                  <a:lnTo>
                    <a:pt x="137" y="43"/>
                  </a:lnTo>
                  <a:lnTo>
                    <a:pt x="113" y="43"/>
                  </a:lnTo>
                  <a:lnTo>
                    <a:pt x="91" y="43"/>
                  </a:lnTo>
                  <a:lnTo>
                    <a:pt x="70" y="49"/>
                  </a:lnTo>
                  <a:lnTo>
                    <a:pt x="50" y="57"/>
                  </a:lnTo>
                  <a:lnTo>
                    <a:pt x="30" y="69"/>
                  </a:lnTo>
                  <a:lnTo>
                    <a:pt x="8" y="35"/>
                  </a:lnTo>
                  <a:lnTo>
                    <a:pt x="32" y="20"/>
                  </a:lnTo>
                  <a:lnTo>
                    <a:pt x="60" y="8"/>
                  </a:lnTo>
                  <a:lnTo>
                    <a:pt x="87" y="2"/>
                  </a:lnTo>
                  <a:lnTo>
                    <a:pt x="11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0" name="Freeform 52">
              <a:extLst>
                <a:ext uri="{FF2B5EF4-FFF2-40B4-BE49-F238E27FC236}">
                  <a16:creationId xmlns:a16="http://schemas.microsoft.com/office/drawing/2014/main" id="{D0EC4E09-87D4-4E78-A4F0-B4C61BD670CE}"/>
                </a:ext>
              </a:extLst>
            </p:cNvPr>
            <p:cNvSpPr>
              <a:spLocks/>
            </p:cNvSpPr>
            <p:nvPr userDrawn="1"/>
          </p:nvSpPr>
          <p:spPr bwMode="auto">
            <a:xfrm>
              <a:off x="2450508" y="1545523"/>
              <a:ext cx="75829" cy="160476"/>
            </a:xfrm>
            <a:custGeom>
              <a:avLst/>
              <a:gdLst>
                <a:gd name="T0" fmla="*/ 49 w 172"/>
                <a:gd name="T1" fmla="*/ 0 h 365"/>
                <a:gd name="T2" fmla="*/ 101 w 172"/>
                <a:gd name="T3" fmla="*/ 0 h 365"/>
                <a:gd name="T4" fmla="*/ 101 w 172"/>
                <a:gd name="T5" fmla="*/ 74 h 365"/>
                <a:gd name="T6" fmla="*/ 172 w 172"/>
                <a:gd name="T7" fmla="*/ 74 h 365"/>
                <a:gd name="T8" fmla="*/ 172 w 172"/>
                <a:gd name="T9" fmla="*/ 115 h 365"/>
                <a:gd name="T10" fmla="*/ 101 w 172"/>
                <a:gd name="T11" fmla="*/ 115 h 365"/>
                <a:gd name="T12" fmla="*/ 101 w 172"/>
                <a:gd name="T13" fmla="*/ 270 h 365"/>
                <a:gd name="T14" fmla="*/ 101 w 172"/>
                <a:gd name="T15" fmla="*/ 288 h 365"/>
                <a:gd name="T16" fmla="*/ 105 w 172"/>
                <a:gd name="T17" fmla="*/ 302 h 365"/>
                <a:gd name="T18" fmla="*/ 113 w 172"/>
                <a:gd name="T19" fmla="*/ 312 h 365"/>
                <a:gd name="T20" fmla="*/ 130 w 172"/>
                <a:gd name="T21" fmla="*/ 319 h 365"/>
                <a:gd name="T22" fmla="*/ 158 w 172"/>
                <a:gd name="T23" fmla="*/ 321 h 365"/>
                <a:gd name="T24" fmla="*/ 172 w 172"/>
                <a:gd name="T25" fmla="*/ 321 h 365"/>
                <a:gd name="T26" fmla="*/ 172 w 172"/>
                <a:gd name="T27" fmla="*/ 361 h 365"/>
                <a:gd name="T28" fmla="*/ 156 w 172"/>
                <a:gd name="T29" fmla="*/ 363 h 365"/>
                <a:gd name="T30" fmla="*/ 148 w 172"/>
                <a:gd name="T31" fmla="*/ 363 h 365"/>
                <a:gd name="T32" fmla="*/ 140 w 172"/>
                <a:gd name="T33" fmla="*/ 365 h 365"/>
                <a:gd name="T34" fmla="*/ 111 w 172"/>
                <a:gd name="T35" fmla="*/ 361 h 365"/>
                <a:gd name="T36" fmla="*/ 87 w 172"/>
                <a:gd name="T37" fmla="*/ 353 h 365"/>
                <a:gd name="T38" fmla="*/ 71 w 172"/>
                <a:gd name="T39" fmla="*/ 341 h 365"/>
                <a:gd name="T40" fmla="*/ 57 w 172"/>
                <a:gd name="T41" fmla="*/ 321 h 365"/>
                <a:gd name="T42" fmla="*/ 51 w 172"/>
                <a:gd name="T43" fmla="*/ 298 h 365"/>
                <a:gd name="T44" fmla="*/ 49 w 172"/>
                <a:gd name="T45" fmla="*/ 264 h 365"/>
                <a:gd name="T46" fmla="*/ 49 w 172"/>
                <a:gd name="T47" fmla="*/ 115 h 365"/>
                <a:gd name="T48" fmla="*/ 0 w 172"/>
                <a:gd name="T49" fmla="*/ 115 h 365"/>
                <a:gd name="T50" fmla="*/ 0 w 172"/>
                <a:gd name="T51" fmla="*/ 74 h 365"/>
                <a:gd name="T52" fmla="*/ 49 w 172"/>
                <a:gd name="T53" fmla="*/ 74 h 365"/>
                <a:gd name="T54" fmla="*/ 49 w 172"/>
                <a:gd name="T5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365">
                  <a:moveTo>
                    <a:pt x="49" y="0"/>
                  </a:moveTo>
                  <a:lnTo>
                    <a:pt x="101" y="0"/>
                  </a:lnTo>
                  <a:lnTo>
                    <a:pt x="101" y="74"/>
                  </a:lnTo>
                  <a:lnTo>
                    <a:pt x="172" y="74"/>
                  </a:lnTo>
                  <a:lnTo>
                    <a:pt x="172" y="115"/>
                  </a:lnTo>
                  <a:lnTo>
                    <a:pt x="101" y="115"/>
                  </a:lnTo>
                  <a:lnTo>
                    <a:pt x="101" y="270"/>
                  </a:lnTo>
                  <a:lnTo>
                    <a:pt x="101" y="288"/>
                  </a:lnTo>
                  <a:lnTo>
                    <a:pt x="105" y="302"/>
                  </a:lnTo>
                  <a:lnTo>
                    <a:pt x="113" y="312"/>
                  </a:lnTo>
                  <a:lnTo>
                    <a:pt x="130" y="319"/>
                  </a:lnTo>
                  <a:lnTo>
                    <a:pt x="158" y="321"/>
                  </a:lnTo>
                  <a:lnTo>
                    <a:pt x="172" y="321"/>
                  </a:lnTo>
                  <a:lnTo>
                    <a:pt x="172" y="361"/>
                  </a:lnTo>
                  <a:lnTo>
                    <a:pt x="156" y="363"/>
                  </a:lnTo>
                  <a:lnTo>
                    <a:pt x="148" y="363"/>
                  </a:lnTo>
                  <a:lnTo>
                    <a:pt x="140" y="365"/>
                  </a:lnTo>
                  <a:lnTo>
                    <a:pt x="111" y="361"/>
                  </a:lnTo>
                  <a:lnTo>
                    <a:pt x="87" y="353"/>
                  </a:lnTo>
                  <a:lnTo>
                    <a:pt x="71" y="341"/>
                  </a:lnTo>
                  <a:lnTo>
                    <a:pt x="57" y="321"/>
                  </a:lnTo>
                  <a:lnTo>
                    <a:pt x="51" y="298"/>
                  </a:lnTo>
                  <a:lnTo>
                    <a:pt x="49" y="264"/>
                  </a:lnTo>
                  <a:lnTo>
                    <a:pt x="49" y="115"/>
                  </a:lnTo>
                  <a:lnTo>
                    <a:pt x="0" y="115"/>
                  </a:lnTo>
                  <a:lnTo>
                    <a:pt x="0" y="74"/>
                  </a:lnTo>
                  <a:lnTo>
                    <a:pt x="49" y="74"/>
                  </a:lnTo>
                  <a:lnTo>
                    <a:pt x="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1" name="Freeform 53">
              <a:extLst>
                <a:ext uri="{FF2B5EF4-FFF2-40B4-BE49-F238E27FC236}">
                  <a16:creationId xmlns:a16="http://schemas.microsoft.com/office/drawing/2014/main" id="{287625D4-7138-48C3-8435-C91A498757E2}"/>
                </a:ext>
              </a:extLst>
            </p:cNvPr>
            <p:cNvSpPr>
              <a:spLocks/>
            </p:cNvSpPr>
            <p:nvPr userDrawn="1"/>
          </p:nvSpPr>
          <p:spPr bwMode="auto">
            <a:xfrm>
              <a:off x="2549260" y="1528768"/>
              <a:ext cx="24688" cy="67893"/>
            </a:xfrm>
            <a:custGeom>
              <a:avLst/>
              <a:gdLst>
                <a:gd name="T0" fmla="*/ 0 w 58"/>
                <a:gd name="T1" fmla="*/ 0 h 154"/>
                <a:gd name="T2" fmla="*/ 58 w 58"/>
                <a:gd name="T3" fmla="*/ 0 h 154"/>
                <a:gd name="T4" fmla="*/ 58 w 58"/>
                <a:gd name="T5" fmla="*/ 35 h 154"/>
                <a:gd name="T6" fmla="*/ 56 w 58"/>
                <a:gd name="T7" fmla="*/ 71 h 154"/>
                <a:gd name="T8" fmla="*/ 50 w 58"/>
                <a:gd name="T9" fmla="*/ 103 h 154"/>
                <a:gd name="T10" fmla="*/ 42 w 58"/>
                <a:gd name="T11" fmla="*/ 131 h 154"/>
                <a:gd name="T12" fmla="*/ 30 w 58"/>
                <a:gd name="T13" fmla="*/ 154 h 154"/>
                <a:gd name="T14" fmla="*/ 0 w 58"/>
                <a:gd name="T15" fmla="*/ 138 h 154"/>
                <a:gd name="T16" fmla="*/ 16 w 58"/>
                <a:gd name="T17" fmla="*/ 101 h 154"/>
                <a:gd name="T18" fmla="*/ 22 w 58"/>
                <a:gd name="T19" fmla="*/ 61 h 154"/>
                <a:gd name="T20" fmla="*/ 0 w 58"/>
                <a:gd name="T21" fmla="*/ 61 h 154"/>
                <a:gd name="T22" fmla="*/ 0 w 58"/>
                <a:gd name="T2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154">
                  <a:moveTo>
                    <a:pt x="0" y="0"/>
                  </a:moveTo>
                  <a:lnTo>
                    <a:pt x="58" y="0"/>
                  </a:lnTo>
                  <a:lnTo>
                    <a:pt x="58" y="35"/>
                  </a:lnTo>
                  <a:lnTo>
                    <a:pt x="56" y="71"/>
                  </a:lnTo>
                  <a:lnTo>
                    <a:pt x="50" y="103"/>
                  </a:lnTo>
                  <a:lnTo>
                    <a:pt x="42" y="131"/>
                  </a:lnTo>
                  <a:lnTo>
                    <a:pt x="30" y="154"/>
                  </a:lnTo>
                  <a:lnTo>
                    <a:pt x="0" y="138"/>
                  </a:lnTo>
                  <a:lnTo>
                    <a:pt x="16" y="101"/>
                  </a:lnTo>
                  <a:lnTo>
                    <a:pt x="22" y="61"/>
                  </a:lnTo>
                  <a:lnTo>
                    <a:pt x="0" y="61"/>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2" name="Freeform 54">
              <a:extLst>
                <a:ext uri="{FF2B5EF4-FFF2-40B4-BE49-F238E27FC236}">
                  <a16:creationId xmlns:a16="http://schemas.microsoft.com/office/drawing/2014/main" id="{5D3E6DE9-22AB-43E6-BD96-EA2E31FDBBFE}"/>
                </a:ext>
              </a:extLst>
            </p:cNvPr>
            <p:cNvSpPr>
              <a:spLocks/>
            </p:cNvSpPr>
            <p:nvPr userDrawn="1"/>
          </p:nvSpPr>
          <p:spPr bwMode="auto">
            <a:xfrm>
              <a:off x="2582765" y="1573735"/>
              <a:ext cx="98755" cy="134024"/>
            </a:xfrm>
            <a:custGeom>
              <a:avLst/>
              <a:gdLst>
                <a:gd name="T0" fmla="*/ 170 w 224"/>
                <a:gd name="T1" fmla="*/ 8 h 303"/>
                <a:gd name="T2" fmla="*/ 216 w 224"/>
                <a:gd name="T3" fmla="*/ 30 h 303"/>
                <a:gd name="T4" fmla="*/ 160 w 224"/>
                <a:gd name="T5" fmla="*/ 49 h 303"/>
                <a:gd name="T6" fmla="*/ 117 w 224"/>
                <a:gd name="T7" fmla="*/ 43 h 303"/>
                <a:gd name="T8" fmla="*/ 77 w 224"/>
                <a:gd name="T9" fmla="*/ 51 h 303"/>
                <a:gd name="T10" fmla="*/ 65 w 224"/>
                <a:gd name="T11" fmla="*/ 63 h 303"/>
                <a:gd name="T12" fmla="*/ 61 w 224"/>
                <a:gd name="T13" fmla="*/ 83 h 303"/>
                <a:gd name="T14" fmla="*/ 67 w 224"/>
                <a:gd name="T15" fmla="*/ 103 h 303"/>
                <a:gd name="T16" fmla="*/ 79 w 224"/>
                <a:gd name="T17" fmla="*/ 111 h 303"/>
                <a:gd name="T18" fmla="*/ 97 w 224"/>
                <a:gd name="T19" fmla="*/ 119 h 303"/>
                <a:gd name="T20" fmla="*/ 182 w 224"/>
                <a:gd name="T21" fmla="*/ 148 h 303"/>
                <a:gd name="T22" fmla="*/ 218 w 224"/>
                <a:gd name="T23" fmla="*/ 188 h 303"/>
                <a:gd name="T24" fmla="*/ 220 w 224"/>
                <a:gd name="T25" fmla="*/ 240 h 303"/>
                <a:gd name="T26" fmla="*/ 194 w 224"/>
                <a:gd name="T27" fmla="*/ 279 h 303"/>
                <a:gd name="T28" fmla="*/ 144 w 224"/>
                <a:gd name="T29" fmla="*/ 301 h 303"/>
                <a:gd name="T30" fmla="*/ 79 w 224"/>
                <a:gd name="T31" fmla="*/ 301 h 303"/>
                <a:gd name="T32" fmla="*/ 24 w 224"/>
                <a:gd name="T33" fmla="*/ 281 h 303"/>
                <a:gd name="T34" fmla="*/ 24 w 224"/>
                <a:gd name="T35" fmla="*/ 230 h 303"/>
                <a:gd name="T36" fmla="*/ 65 w 224"/>
                <a:gd name="T37" fmla="*/ 251 h 303"/>
                <a:gd name="T38" fmla="*/ 113 w 224"/>
                <a:gd name="T39" fmla="*/ 259 h 303"/>
                <a:gd name="T40" fmla="*/ 156 w 224"/>
                <a:gd name="T41" fmla="*/ 249 h 303"/>
                <a:gd name="T42" fmla="*/ 172 w 224"/>
                <a:gd name="T43" fmla="*/ 216 h 303"/>
                <a:gd name="T44" fmla="*/ 168 w 224"/>
                <a:gd name="T45" fmla="*/ 198 h 303"/>
                <a:gd name="T46" fmla="*/ 156 w 224"/>
                <a:gd name="T47" fmla="*/ 186 h 303"/>
                <a:gd name="T48" fmla="*/ 135 w 224"/>
                <a:gd name="T49" fmla="*/ 176 h 303"/>
                <a:gd name="T50" fmla="*/ 49 w 224"/>
                <a:gd name="T51" fmla="*/ 148 h 303"/>
                <a:gd name="T52" fmla="*/ 14 w 224"/>
                <a:gd name="T53" fmla="*/ 109 h 303"/>
                <a:gd name="T54" fmla="*/ 12 w 224"/>
                <a:gd name="T55" fmla="*/ 63 h 303"/>
                <a:gd name="T56" fmla="*/ 24 w 224"/>
                <a:gd name="T57" fmla="*/ 37 h 303"/>
                <a:gd name="T58" fmla="*/ 41 w 224"/>
                <a:gd name="T59" fmla="*/ 20 h 303"/>
                <a:gd name="T60" fmla="*/ 75 w 224"/>
                <a:gd name="T61" fmla="*/ 6 h 303"/>
                <a:gd name="T62" fmla="*/ 117 w 224"/>
                <a:gd name="T6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 h="303">
                  <a:moveTo>
                    <a:pt x="117" y="0"/>
                  </a:moveTo>
                  <a:lnTo>
                    <a:pt x="170" y="8"/>
                  </a:lnTo>
                  <a:lnTo>
                    <a:pt x="196" y="16"/>
                  </a:lnTo>
                  <a:lnTo>
                    <a:pt x="216" y="30"/>
                  </a:lnTo>
                  <a:lnTo>
                    <a:pt x="198" y="65"/>
                  </a:lnTo>
                  <a:lnTo>
                    <a:pt x="160" y="49"/>
                  </a:lnTo>
                  <a:lnTo>
                    <a:pt x="140" y="43"/>
                  </a:lnTo>
                  <a:lnTo>
                    <a:pt x="117" y="43"/>
                  </a:lnTo>
                  <a:lnTo>
                    <a:pt x="95" y="45"/>
                  </a:lnTo>
                  <a:lnTo>
                    <a:pt x="77" y="51"/>
                  </a:lnTo>
                  <a:lnTo>
                    <a:pt x="69" y="57"/>
                  </a:lnTo>
                  <a:lnTo>
                    <a:pt x="65" y="63"/>
                  </a:lnTo>
                  <a:lnTo>
                    <a:pt x="61" y="73"/>
                  </a:lnTo>
                  <a:lnTo>
                    <a:pt x="61" y="83"/>
                  </a:lnTo>
                  <a:lnTo>
                    <a:pt x="63" y="93"/>
                  </a:lnTo>
                  <a:lnTo>
                    <a:pt x="67" y="103"/>
                  </a:lnTo>
                  <a:lnTo>
                    <a:pt x="71" y="107"/>
                  </a:lnTo>
                  <a:lnTo>
                    <a:pt x="79" y="111"/>
                  </a:lnTo>
                  <a:lnTo>
                    <a:pt x="87" y="115"/>
                  </a:lnTo>
                  <a:lnTo>
                    <a:pt x="97" y="119"/>
                  </a:lnTo>
                  <a:lnTo>
                    <a:pt x="150" y="135"/>
                  </a:lnTo>
                  <a:lnTo>
                    <a:pt x="182" y="148"/>
                  </a:lnTo>
                  <a:lnTo>
                    <a:pt x="206" y="166"/>
                  </a:lnTo>
                  <a:lnTo>
                    <a:pt x="218" y="188"/>
                  </a:lnTo>
                  <a:lnTo>
                    <a:pt x="224" y="214"/>
                  </a:lnTo>
                  <a:lnTo>
                    <a:pt x="220" y="240"/>
                  </a:lnTo>
                  <a:lnTo>
                    <a:pt x="210" y="259"/>
                  </a:lnTo>
                  <a:lnTo>
                    <a:pt x="194" y="279"/>
                  </a:lnTo>
                  <a:lnTo>
                    <a:pt x="172" y="293"/>
                  </a:lnTo>
                  <a:lnTo>
                    <a:pt x="144" y="301"/>
                  </a:lnTo>
                  <a:lnTo>
                    <a:pt x="113" y="303"/>
                  </a:lnTo>
                  <a:lnTo>
                    <a:pt x="79" y="301"/>
                  </a:lnTo>
                  <a:lnTo>
                    <a:pt x="49" y="293"/>
                  </a:lnTo>
                  <a:lnTo>
                    <a:pt x="24" y="281"/>
                  </a:lnTo>
                  <a:lnTo>
                    <a:pt x="0" y="265"/>
                  </a:lnTo>
                  <a:lnTo>
                    <a:pt x="24" y="230"/>
                  </a:lnTo>
                  <a:lnTo>
                    <a:pt x="43" y="242"/>
                  </a:lnTo>
                  <a:lnTo>
                    <a:pt x="65"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1" y="28"/>
                  </a:lnTo>
                  <a:lnTo>
                    <a:pt x="41" y="20"/>
                  </a:lnTo>
                  <a:lnTo>
                    <a:pt x="55" y="12"/>
                  </a:lnTo>
                  <a:lnTo>
                    <a:pt x="75"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3" name="Freeform 55">
              <a:extLst>
                <a:ext uri="{FF2B5EF4-FFF2-40B4-BE49-F238E27FC236}">
                  <a16:creationId xmlns:a16="http://schemas.microsoft.com/office/drawing/2014/main" id="{80002591-6755-45D9-AF6A-ACA0745B17AD}"/>
                </a:ext>
              </a:extLst>
            </p:cNvPr>
            <p:cNvSpPr>
              <a:spLocks noEditPoints="1"/>
            </p:cNvSpPr>
            <p:nvPr userDrawn="1"/>
          </p:nvSpPr>
          <p:spPr bwMode="auto">
            <a:xfrm>
              <a:off x="2767933" y="1527007"/>
              <a:ext cx="23807" cy="177228"/>
            </a:xfrm>
            <a:custGeom>
              <a:avLst/>
              <a:gdLst>
                <a:gd name="T0" fmla="*/ 2 w 53"/>
                <a:gd name="T1" fmla="*/ 115 h 402"/>
                <a:gd name="T2" fmla="*/ 53 w 53"/>
                <a:gd name="T3" fmla="*/ 115 h 402"/>
                <a:gd name="T4" fmla="*/ 53 w 53"/>
                <a:gd name="T5" fmla="*/ 402 h 402"/>
                <a:gd name="T6" fmla="*/ 2 w 53"/>
                <a:gd name="T7" fmla="*/ 402 h 402"/>
                <a:gd name="T8" fmla="*/ 2 w 53"/>
                <a:gd name="T9" fmla="*/ 115 h 402"/>
                <a:gd name="T10" fmla="*/ 0 w 53"/>
                <a:gd name="T11" fmla="*/ 0 h 402"/>
                <a:gd name="T12" fmla="*/ 53 w 53"/>
                <a:gd name="T13" fmla="*/ 0 h 402"/>
                <a:gd name="T14" fmla="*/ 53 w 53"/>
                <a:gd name="T15" fmla="*/ 57 h 402"/>
                <a:gd name="T16" fmla="*/ 0 w 53"/>
                <a:gd name="T17" fmla="*/ 57 h 402"/>
                <a:gd name="T18" fmla="*/ 0 w 53"/>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402">
                  <a:moveTo>
                    <a:pt x="2" y="115"/>
                  </a:moveTo>
                  <a:lnTo>
                    <a:pt x="53" y="115"/>
                  </a:lnTo>
                  <a:lnTo>
                    <a:pt x="53" y="402"/>
                  </a:lnTo>
                  <a:lnTo>
                    <a:pt x="2" y="402"/>
                  </a:lnTo>
                  <a:lnTo>
                    <a:pt x="2" y="115"/>
                  </a:lnTo>
                  <a:close/>
                  <a:moveTo>
                    <a:pt x="0" y="0"/>
                  </a:moveTo>
                  <a:lnTo>
                    <a:pt x="53" y="0"/>
                  </a:lnTo>
                  <a:lnTo>
                    <a:pt x="53"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4" name="Freeform 56">
              <a:extLst>
                <a:ext uri="{FF2B5EF4-FFF2-40B4-BE49-F238E27FC236}">
                  <a16:creationId xmlns:a16="http://schemas.microsoft.com/office/drawing/2014/main" id="{23BDCFB0-BB34-446F-93D3-208B905FF989}"/>
                </a:ext>
              </a:extLst>
            </p:cNvPr>
            <p:cNvSpPr>
              <a:spLocks/>
            </p:cNvSpPr>
            <p:nvPr userDrawn="1"/>
          </p:nvSpPr>
          <p:spPr bwMode="auto">
            <a:xfrm>
              <a:off x="2828769" y="1573735"/>
              <a:ext cx="111099" cy="130496"/>
            </a:xfrm>
            <a:custGeom>
              <a:avLst/>
              <a:gdLst>
                <a:gd name="T0" fmla="*/ 148 w 251"/>
                <a:gd name="T1" fmla="*/ 0 h 295"/>
                <a:gd name="T2" fmla="*/ 178 w 251"/>
                <a:gd name="T3" fmla="*/ 4 h 295"/>
                <a:gd name="T4" fmla="*/ 204 w 251"/>
                <a:gd name="T5" fmla="*/ 12 h 295"/>
                <a:gd name="T6" fmla="*/ 224 w 251"/>
                <a:gd name="T7" fmla="*/ 28 h 295"/>
                <a:gd name="T8" fmla="*/ 239 w 251"/>
                <a:gd name="T9" fmla="*/ 49 h 295"/>
                <a:gd name="T10" fmla="*/ 247 w 251"/>
                <a:gd name="T11" fmla="*/ 77 h 295"/>
                <a:gd name="T12" fmla="*/ 251 w 251"/>
                <a:gd name="T13" fmla="*/ 111 h 295"/>
                <a:gd name="T14" fmla="*/ 251 w 251"/>
                <a:gd name="T15" fmla="*/ 295 h 295"/>
                <a:gd name="T16" fmla="*/ 200 w 251"/>
                <a:gd name="T17" fmla="*/ 295 h 295"/>
                <a:gd name="T18" fmla="*/ 200 w 251"/>
                <a:gd name="T19" fmla="*/ 117 h 295"/>
                <a:gd name="T20" fmla="*/ 198 w 251"/>
                <a:gd name="T21" fmla="*/ 93 h 295"/>
                <a:gd name="T22" fmla="*/ 192 w 251"/>
                <a:gd name="T23" fmla="*/ 75 h 295"/>
                <a:gd name="T24" fmla="*/ 184 w 251"/>
                <a:gd name="T25" fmla="*/ 61 h 295"/>
                <a:gd name="T26" fmla="*/ 172 w 251"/>
                <a:gd name="T27" fmla="*/ 51 h 295"/>
                <a:gd name="T28" fmla="*/ 156 w 251"/>
                <a:gd name="T29" fmla="*/ 45 h 295"/>
                <a:gd name="T30" fmla="*/ 136 w 251"/>
                <a:gd name="T31" fmla="*/ 43 h 295"/>
                <a:gd name="T32" fmla="*/ 113 w 251"/>
                <a:gd name="T33" fmla="*/ 47 h 295"/>
                <a:gd name="T34" fmla="*/ 91 w 251"/>
                <a:gd name="T35" fmla="*/ 55 h 295"/>
                <a:gd name="T36" fmla="*/ 75 w 251"/>
                <a:gd name="T37" fmla="*/ 69 h 295"/>
                <a:gd name="T38" fmla="*/ 61 w 251"/>
                <a:gd name="T39" fmla="*/ 89 h 295"/>
                <a:gd name="T40" fmla="*/ 53 w 251"/>
                <a:gd name="T41" fmla="*/ 113 h 295"/>
                <a:gd name="T42" fmla="*/ 51 w 251"/>
                <a:gd name="T43" fmla="*/ 142 h 295"/>
                <a:gd name="T44" fmla="*/ 51 w 251"/>
                <a:gd name="T45" fmla="*/ 295 h 295"/>
                <a:gd name="T46" fmla="*/ 0 w 251"/>
                <a:gd name="T47" fmla="*/ 295 h 295"/>
                <a:gd name="T48" fmla="*/ 0 w 251"/>
                <a:gd name="T49" fmla="*/ 8 h 295"/>
                <a:gd name="T50" fmla="*/ 25 w 251"/>
                <a:gd name="T51" fmla="*/ 8 h 295"/>
                <a:gd name="T52" fmla="*/ 35 w 251"/>
                <a:gd name="T53" fmla="*/ 8 h 295"/>
                <a:gd name="T54" fmla="*/ 41 w 251"/>
                <a:gd name="T55" fmla="*/ 10 h 295"/>
                <a:gd name="T56" fmla="*/ 45 w 251"/>
                <a:gd name="T57" fmla="*/ 16 h 295"/>
                <a:gd name="T58" fmla="*/ 49 w 251"/>
                <a:gd name="T59" fmla="*/ 20 h 295"/>
                <a:gd name="T60" fmla="*/ 49 w 251"/>
                <a:gd name="T61" fmla="*/ 28 h 295"/>
                <a:gd name="T62" fmla="*/ 49 w 251"/>
                <a:gd name="T63" fmla="*/ 51 h 295"/>
                <a:gd name="T64" fmla="*/ 65 w 251"/>
                <a:gd name="T65" fmla="*/ 30 h 295"/>
                <a:gd name="T66" fmla="*/ 89 w 251"/>
                <a:gd name="T67" fmla="*/ 14 h 295"/>
                <a:gd name="T68" fmla="*/ 117 w 251"/>
                <a:gd name="T69" fmla="*/ 4 h 295"/>
                <a:gd name="T70" fmla="*/ 148 w 251"/>
                <a:gd name="T7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295">
                  <a:moveTo>
                    <a:pt x="148" y="0"/>
                  </a:moveTo>
                  <a:lnTo>
                    <a:pt x="178" y="4"/>
                  </a:lnTo>
                  <a:lnTo>
                    <a:pt x="204" y="12"/>
                  </a:lnTo>
                  <a:lnTo>
                    <a:pt x="224" y="28"/>
                  </a:lnTo>
                  <a:lnTo>
                    <a:pt x="239" y="49"/>
                  </a:lnTo>
                  <a:lnTo>
                    <a:pt x="247" y="77"/>
                  </a:lnTo>
                  <a:lnTo>
                    <a:pt x="251" y="111"/>
                  </a:lnTo>
                  <a:lnTo>
                    <a:pt x="251" y="295"/>
                  </a:lnTo>
                  <a:lnTo>
                    <a:pt x="200" y="295"/>
                  </a:lnTo>
                  <a:lnTo>
                    <a:pt x="200" y="117"/>
                  </a:lnTo>
                  <a:lnTo>
                    <a:pt x="198" y="93"/>
                  </a:lnTo>
                  <a:lnTo>
                    <a:pt x="192" y="75"/>
                  </a:lnTo>
                  <a:lnTo>
                    <a:pt x="184" y="61"/>
                  </a:lnTo>
                  <a:lnTo>
                    <a:pt x="172" y="51"/>
                  </a:lnTo>
                  <a:lnTo>
                    <a:pt x="156" y="45"/>
                  </a:lnTo>
                  <a:lnTo>
                    <a:pt x="136" y="43"/>
                  </a:lnTo>
                  <a:lnTo>
                    <a:pt x="113" y="47"/>
                  </a:lnTo>
                  <a:lnTo>
                    <a:pt x="91" y="55"/>
                  </a:lnTo>
                  <a:lnTo>
                    <a:pt x="75" y="69"/>
                  </a:lnTo>
                  <a:lnTo>
                    <a:pt x="61" y="89"/>
                  </a:lnTo>
                  <a:lnTo>
                    <a:pt x="53" y="113"/>
                  </a:lnTo>
                  <a:lnTo>
                    <a:pt x="51" y="142"/>
                  </a:lnTo>
                  <a:lnTo>
                    <a:pt x="51" y="295"/>
                  </a:lnTo>
                  <a:lnTo>
                    <a:pt x="0" y="295"/>
                  </a:lnTo>
                  <a:lnTo>
                    <a:pt x="0" y="8"/>
                  </a:lnTo>
                  <a:lnTo>
                    <a:pt x="25" y="8"/>
                  </a:lnTo>
                  <a:lnTo>
                    <a:pt x="35" y="8"/>
                  </a:lnTo>
                  <a:lnTo>
                    <a:pt x="41" y="10"/>
                  </a:lnTo>
                  <a:lnTo>
                    <a:pt x="45" y="16"/>
                  </a:lnTo>
                  <a:lnTo>
                    <a:pt x="49" y="20"/>
                  </a:lnTo>
                  <a:lnTo>
                    <a:pt x="49" y="28"/>
                  </a:lnTo>
                  <a:lnTo>
                    <a:pt x="49" y="51"/>
                  </a:lnTo>
                  <a:lnTo>
                    <a:pt x="65" y="30"/>
                  </a:lnTo>
                  <a:lnTo>
                    <a:pt x="89" y="14"/>
                  </a:lnTo>
                  <a:lnTo>
                    <a:pt x="117" y="4"/>
                  </a:lnTo>
                  <a:lnTo>
                    <a:pt x="148"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5" name="Freeform 57">
              <a:extLst>
                <a:ext uri="{FF2B5EF4-FFF2-40B4-BE49-F238E27FC236}">
                  <a16:creationId xmlns:a16="http://schemas.microsoft.com/office/drawing/2014/main" id="{5D759125-EE80-42E1-AAA3-95C132CBA99D}"/>
                </a:ext>
              </a:extLst>
            </p:cNvPr>
            <p:cNvSpPr>
              <a:spLocks/>
            </p:cNvSpPr>
            <p:nvPr userDrawn="1"/>
          </p:nvSpPr>
          <p:spPr bwMode="auto">
            <a:xfrm>
              <a:off x="2964556" y="1573735"/>
              <a:ext cx="97872" cy="134024"/>
            </a:xfrm>
            <a:custGeom>
              <a:avLst/>
              <a:gdLst>
                <a:gd name="T0" fmla="*/ 143 w 222"/>
                <a:gd name="T1" fmla="*/ 2 h 303"/>
                <a:gd name="T2" fmla="*/ 194 w 222"/>
                <a:gd name="T3" fmla="*/ 16 h 303"/>
                <a:gd name="T4" fmla="*/ 196 w 222"/>
                <a:gd name="T5" fmla="*/ 65 h 303"/>
                <a:gd name="T6" fmla="*/ 141 w 222"/>
                <a:gd name="T7" fmla="*/ 43 h 303"/>
                <a:gd name="T8" fmla="*/ 95 w 222"/>
                <a:gd name="T9" fmla="*/ 45 h 303"/>
                <a:gd name="T10" fmla="*/ 69 w 222"/>
                <a:gd name="T11" fmla="*/ 57 h 303"/>
                <a:gd name="T12" fmla="*/ 61 w 222"/>
                <a:gd name="T13" fmla="*/ 73 h 303"/>
                <a:gd name="T14" fmla="*/ 61 w 222"/>
                <a:gd name="T15" fmla="*/ 93 h 303"/>
                <a:gd name="T16" fmla="*/ 71 w 222"/>
                <a:gd name="T17" fmla="*/ 107 h 303"/>
                <a:gd name="T18" fmla="*/ 87 w 222"/>
                <a:gd name="T19" fmla="*/ 115 h 303"/>
                <a:gd name="T20" fmla="*/ 150 w 222"/>
                <a:gd name="T21" fmla="*/ 135 h 303"/>
                <a:gd name="T22" fmla="*/ 206 w 222"/>
                <a:gd name="T23" fmla="*/ 166 h 303"/>
                <a:gd name="T24" fmla="*/ 222 w 222"/>
                <a:gd name="T25" fmla="*/ 214 h 303"/>
                <a:gd name="T26" fmla="*/ 210 w 222"/>
                <a:gd name="T27" fmla="*/ 259 h 303"/>
                <a:gd name="T28" fmla="*/ 172 w 222"/>
                <a:gd name="T29" fmla="*/ 293 h 303"/>
                <a:gd name="T30" fmla="*/ 113 w 222"/>
                <a:gd name="T31" fmla="*/ 303 h 303"/>
                <a:gd name="T32" fmla="*/ 49 w 222"/>
                <a:gd name="T33" fmla="*/ 293 h 303"/>
                <a:gd name="T34" fmla="*/ 0 w 222"/>
                <a:gd name="T35" fmla="*/ 265 h 303"/>
                <a:gd name="T36" fmla="*/ 43 w 222"/>
                <a:gd name="T37" fmla="*/ 242 h 303"/>
                <a:gd name="T38" fmla="*/ 87 w 222"/>
                <a:gd name="T39" fmla="*/ 257 h 303"/>
                <a:gd name="T40" fmla="*/ 137 w 222"/>
                <a:gd name="T41" fmla="*/ 257 h 303"/>
                <a:gd name="T42" fmla="*/ 168 w 222"/>
                <a:gd name="T43" fmla="*/ 236 h 303"/>
                <a:gd name="T44" fmla="*/ 170 w 222"/>
                <a:gd name="T45" fmla="*/ 206 h 303"/>
                <a:gd name="T46" fmla="*/ 164 w 222"/>
                <a:gd name="T47" fmla="*/ 192 h 303"/>
                <a:gd name="T48" fmla="*/ 146 w 222"/>
                <a:gd name="T49" fmla="*/ 182 h 303"/>
                <a:gd name="T50" fmla="*/ 81 w 222"/>
                <a:gd name="T51" fmla="*/ 160 h 303"/>
                <a:gd name="T52" fmla="*/ 28 w 222"/>
                <a:gd name="T53" fmla="*/ 131 h 303"/>
                <a:gd name="T54" fmla="*/ 10 w 222"/>
                <a:gd name="T55" fmla="*/ 83 h 303"/>
                <a:gd name="T56" fmla="*/ 18 w 222"/>
                <a:gd name="T57" fmla="*/ 47 h 303"/>
                <a:gd name="T58" fmla="*/ 32 w 222"/>
                <a:gd name="T59" fmla="*/ 28 h 303"/>
                <a:gd name="T60" fmla="*/ 55 w 222"/>
                <a:gd name="T61" fmla="*/ 12 h 303"/>
                <a:gd name="T62" fmla="*/ 95 w 222"/>
                <a:gd name="T63" fmla="*/ 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303">
                  <a:moveTo>
                    <a:pt x="117" y="0"/>
                  </a:moveTo>
                  <a:lnTo>
                    <a:pt x="143" y="2"/>
                  </a:lnTo>
                  <a:lnTo>
                    <a:pt x="170" y="8"/>
                  </a:lnTo>
                  <a:lnTo>
                    <a:pt x="194" y="16"/>
                  </a:lnTo>
                  <a:lnTo>
                    <a:pt x="216" y="30"/>
                  </a:lnTo>
                  <a:lnTo>
                    <a:pt x="196" y="65"/>
                  </a:lnTo>
                  <a:lnTo>
                    <a:pt x="160" y="49"/>
                  </a:lnTo>
                  <a:lnTo>
                    <a:pt x="141" y="43"/>
                  </a:lnTo>
                  <a:lnTo>
                    <a:pt x="117" y="43"/>
                  </a:lnTo>
                  <a:lnTo>
                    <a:pt x="95" y="45"/>
                  </a:lnTo>
                  <a:lnTo>
                    <a:pt x="77" y="51"/>
                  </a:lnTo>
                  <a:lnTo>
                    <a:pt x="69" y="57"/>
                  </a:lnTo>
                  <a:lnTo>
                    <a:pt x="65" y="63"/>
                  </a:lnTo>
                  <a:lnTo>
                    <a:pt x="61" y="73"/>
                  </a:lnTo>
                  <a:lnTo>
                    <a:pt x="61" y="83"/>
                  </a:lnTo>
                  <a:lnTo>
                    <a:pt x="61" y="93"/>
                  </a:lnTo>
                  <a:lnTo>
                    <a:pt x="67" y="103"/>
                  </a:lnTo>
                  <a:lnTo>
                    <a:pt x="71" y="107"/>
                  </a:lnTo>
                  <a:lnTo>
                    <a:pt x="77" y="111"/>
                  </a:lnTo>
                  <a:lnTo>
                    <a:pt x="87" y="115"/>
                  </a:lnTo>
                  <a:lnTo>
                    <a:pt x="97" y="119"/>
                  </a:lnTo>
                  <a:lnTo>
                    <a:pt x="150" y="135"/>
                  </a:lnTo>
                  <a:lnTo>
                    <a:pt x="182" y="148"/>
                  </a:lnTo>
                  <a:lnTo>
                    <a:pt x="206" y="166"/>
                  </a:lnTo>
                  <a:lnTo>
                    <a:pt x="218" y="188"/>
                  </a:lnTo>
                  <a:lnTo>
                    <a:pt x="222" y="214"/>
                  </a:lnTo>
                  <a:lnTo>
                    <a:pt x="220" y="240"/>
                  </a:lnTo>
                  <a:lnTo>
                    <a:pt x="210" y="259"/>
                  </a:lnTo>
                  <a:lnTo>
                    <a:pt x="194" y="279"/>
                  </a:lnTo>
                  <a:lnTo>
                    <a:pt x="172" y="293"/>
                  </a:lnTo>
                  <a:lnTo>
                    <a:pt x="145" y="301"/>
                  </a:lnTo>
                  <a:lnTo>
                    <a:pt x="113" y="303"/>
                  </a:lnTo>
                  <a:lnTo>
                    <a:pt x="79" y="301"/>
                  </a:lnTo>
                  <a:lnTo>
                    <a:pt x="49" y="293"/>
                  </a:lnTo>
                  <a:lnTo>
                    <a:pt x="24" y="281"/>
                  </a:lnTo>
                  <a:lnTo>
                    <a:pt x="0" y="265"/>
                  </a:lnTo>
                  <a:lnTo>
                    <a:pt x="24" y="230"/>
                  </a:lnTo>
                  <a:lnTo>
                    <a:pt x="43" y="242"/>
                  </a:lnTo>
                  <a:lnTo>
                    <a:pt x="63"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2" y="28"/>
                  </a:lnTo>
                  <a:lnTo>
                    <a:pt x="39" y="20"/>
                  </a:lnTo>
                  <a:lnTo>
                    <a:pt x="55" y="12"/>
                  </a:lnTo>
                  <a:lnTo>
                    <a:pt x="73"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6" name="Freeform 58">
              <a:extLst>
                <a:ext uri="{FF2B5EF4-FFF2-40B4-BE49-F238E27FC236}">
                  <a16:creationId xmlns:a16="http://schemas.microsoft.com/office/drawing/2014/main" id="{9ECA9BEE-ABEF-4758-B16E-0F3CD7451F51}"/>
                </a:ext>
              </a:extLst>
            </p:cNvPr>
            <p:cNvSpPr>
              <a:spLocks noEditPoints="1"/>
            </p:cNvSpPr>
            <p:nvPr userDrawn="1"/>
          </p:nvSpPr>
          <p:spPr bwMode="auto">
            <a:xfrm>
              <a:off x="3090646" y="1527007"/>
              <a:ext cx="23807" cy="177228"/>
            </a:xfrm>
            <a:custGeom>
              <a:avLst/>
              <a:gdLst>
                <a:gd name="T0" fmla="*/ 2 w 54"/>
                <a:gd name="T1" fmla="*/ 115 h 402"/>
                <a:gd name="T2" fmla="*/ 54 w 54"/>
                <a:gd name="T3" fmla="*/ 115 h 402"/>
                <a:gd name="T4" fmla="*/ 54 w 54"/>
                <a:gd name="T5" fmla="*/ 402 h 402"/>
                <a:gd name="T6" fmla="*/ 2 w 54"/>
                <a:gd name="T7" fmla="*/ 402 h 402"/>
                <a:gd name="T8" fmla="*/ 2 w 54"/>
                <a:gd name="T9" fmla="*/ 115 h 402"/>
                <a:gd name="T10" fmla="*/ 0 w 54"/>
                <a:gd name="T11" fmla="*/ 0 h 402"/>
                <a:gd name="T12" fmla="*/ 54 w 54"/>
                <a:gd name="T13" fmla="*/ 0 h 402"/>
                <a:gd name="T14" fmla="*/ 54 w 54"/>
                <a:gd name="T15" fmla="*/ 57 h 402"/>
                <a:gd name="T16" fmla="*/ 0 w 54"/>
                <a:gd name="T17" fmla="*/ 57 h 402"/>
                <a:gd name="T18" fmla="*/ 0 w 54"/>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2">
                  <a:moveTo>
                    <a:pt x="2" y="115"/>
                  </a:moveTo>
                  <a:lnTo>
                    <a:pt x="54" y="115"/>
                  </a:lnTo>
                  <a:lnTo>
                    <a:pt x="54" y="402"/>
                  </a:lnTo>
                  <a:lnTo>
                    <a:pt x="2" y="402"/>
                  </a:lnTo>
                  <a:lnTo>
                    <a:pt x="2" y="115"/>
                  </a:lnTo>
                  <a:close/>
                  <a:moveTo>
                    <a:pt x="0" y="0"/>
                  </a:moveTo>
                  <a:lnTo>
                    <a:pt x="54" y="0"/>
                  </a:lnTo>
                  <a:lnTo>
                    <a:pt x="54"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7" name="Freeform 59">
              <a:extLst>
                <a:ext uri="{FF2B5EF4-FFF2-40B4-BE49-F238E27FC236}">
                  <a16:creationId xmlns:a16="http://schemas.microsoft.com/office/drawing/2014/main" id="{AEDC202A-7C3B-41B9-B83D-130A229A3C5E}"/>
                </a:ext>
              </a:extLst>
            </p:cNvPr>
            <p:cNvSpPr>
              <a:spLocks noEditPoints="1"/>
            </p:cNvSpPr>
            <p:nvPr userDrawn="1"/>
          </p:nvSpPr>
          <p:spPr bwMode="auto">
            <a:xfrm>
              <a:off x="3142669" y="1522595"/>
              <a:ext cx="121679" cy="185164"/>
            </a:xfrm>
            <a:custGeom>
              <a:avLst/>
              <a:gdLst>
                <a:gd name="T0" fmla="*/ 141 w 278"/>
                <a:gd name="T1" fmla="*/ 160 h 420"/>
                <a:gd name="T2" fmla="*/ 115 w 278"/>
                <a:gd name="T3" fmla="*/ 164 h 420"/>
                <a:gd name="T4" fmla="*/ 93 w 278"/>
                <a:gd name="T5" fmla="*/ 174 h 420"/>
                <a:gd name="T6" fmla="*/ 77 w 278"/>
                <a:gd name="T7" fmla="*/ 190 h 420"/>
                <a:gd name="T8" fmla="*/ 64 w 278"/>
                <a:gd name="T9" fmla="*/ 210 h 420"/>
                <a:gd name="T10" fmla="*/ 58 w 278"/>
                <a:gd name="T11" fmla="*/ 238 h 420"/>
                <a:gd name="T12" fmla="*/ 54 w 278"/>
                <a:gd name="T13" fmla="*/ 269 h 420"/>
                <a:gd name="T14" fmla="*/ 58 w 278"/>
                <a:gd name="T15" fmla="*/ 301 h 420"/>
                <a:gd name="T16" fmla="*/ 64 w 278"/>
                <a:gd name="T17" fmla="*/ 327 h 420"/>
                <a:gd name="T18" fmla="*/ 77 w 278"/>
                <a:gd name="T19" fmla="*/ 349 h 420"/>
                <a:gd name="T20" fmla="*/ 93 w 278"/>
                <a:gd name="T21" fmla="*/ 365 h 420"/>
                <a:gd name="T22" fmla="*/ 115 w 278"/>
                <a:gd name="T23" fmla="*/ 372 h 420"/>
                <a:gd name="T24" fmla="*/ 141 w 278"/>
                <a:gd name="T25" fmla="*/ 376 h 420"/>
                <a:gd name="T26" fmla="*/ 167 w 278"/>
                <a:gd name="T27" fmla="*/ 372 h 420"/>
                <a:gd name="T28" fmla="*/ 186 w 278"/>
                <a:gd name="T29" fmla="*/ 363 h 420"/>
                <a:gd name="T30" fmla="*/ 204 w 278"/>
                <a:gd name="T31" fmla="*/ 347 h 420"/>
                <a:gd name="T32" fmla="*/ 216 w 278"/>
                <a:gd name="T33" fmla="*/ 325 h 420"/>
                <a:gd name="T34" fmla="*/ 224 w 278"/>
                <a:gd name="T35" fmla="*/ 299 h 420"/>
                <a:gd name="T36" fmla="*/ 226 w 278"/>
                <a:gd name="T37" fmla="*/ 269 h 420"/>
                <a:gd name="T38" fmla="*/ 224 w 278"/>
                <a:gd name="T39" fmla="*/ 236 h 420"/>
                <a:gd name="T40" fmla="*/ 218 w 278"/>
                <a:gd name="T41" fmla="*/ 210 h 420"/>
                <a:gd name="T42" fmla="*/ 204 w 278"/>
                <a:gd name="T43" fmla="*/ 188 h 420"/>
                <a:gd name="T44" fmla="*/ 188 w 278"/>
                <a:gd name="T45" fmla="*/ 174 h 420"/>
                <a:gd name="T46" fmla="*/ 167 w 278"/>
                <a:gd name="T47" fmla="*/ 164 h 420"/>
                <a:gd name="T48" fmla="*/ 141 w 278"/>
                <a:gd name="T49" fmla="*/ 160 h 420"/>
                <a:gd name="T50" fmla="*/ 226 w 278"/>
                <a:gd name="T51" fmla="*/ 0 h 420"/>
                <a:gd name="T52" fmla="*/ 278 w 278"/>
                <a:gd name="T53" fmla="*/ 0 h 420"/>
                <a:gd name="T54" fmla="*/ 278 w 278"/>
                <a:gd name="T55" fmla="*/ 412 h 420"/>
                <a:gd name="T56" fmla="*/ 250 w 278"/>
                <a:gd name="T57" fmla="*/ 412 h 420"/>
                <a:gd name="T58" fmla="*/ 242 w 278"/>
                <a:gd name="T59" fmla="*/ 412 h 420"/>
                <a:gd name="T60" fmla="*/ 236 w 278"/>
                <a:gd name="T61" fmla="*/ 410 h 420"/>
                <a:gd name="T62" fmla="*/ 230 w 278"/>
                <a:gd name="T63" fmla="*/ 406 h 420"/>
                <a:gd name="T64" fmla="*/ 228 w 278"/>
                <a:gd name="T65" fmla="*/ 400 h 420"/>
                <a:gd name="T66" fmla="*/ 226 w 278"/>
                <a:gd name="T67" fmla="*/ 392 h 420"/>
                <a:gd name="T68" fmla="*/ 226 w 278"/>
                <a:gd name="T69" fmla="*/ 370 h 420"/>
                <a:gd name="T70" fmla="*/ 210 w 278"/>
                <a:gd name="T71" fmla="*/ 390 h 420"/>
                <a:gd name="T72" fmla="*/ 188 w 278"/>
                <a:gd name="T73" fmla="*/ 406 h 420"/>
                <a:gd name="T74" fmla="*/ 161 w 278"/>
                <a:gd name="T75" fmla="*/ 416 h 420"/>
                <a:gd name="T76" fmla="*/ 129 w 278"/>
                <a:gd name="T77" fmla="*/ 420 h 420"/>
                <a:gd name="T78" fmla="*/ 99 w 278"/>
                <a:gd name="T79" fmla="*/ 418 h 420"/>
                <a:gd name="T80" fmla="*/ 73 w 278"/>
                <a:gd name="T81" fmla="*/ 410 h 420"/>
                <a:gd name="T82" fmla="*/ 52 w 278"/>
                <a:gd name="T83" fmla="*/ 396 h 420"/>
                <a:gd name="T84" fmla="*/ 34 w 278"/>
                <a:gd name="T85" fmla="*/ 378 h 420"/>
                <a:gd name="T86" fmla="*/ 20 w 278"/>
                <a:gd name="T87" fmla="*/ 357 h 420"/>
                <a:gd name="T88" fmla="*/ 10 w 278"/>
                <a:gd name="T89" fmla="*/ 331 h 420"/>
                <a:gd name="T90" fmla="*/ 2 w 278"/>
                <a:gd name="T91" fmla="*/ 301 h 420"/>
                <a:gd name="T92" fmla="*/ 0 w 278"/>
                <a:gd name="T93" fmla="*/ 269 h 420"/>
                <a:gd name="T94" fmla="*/ 2 w 278"/>
                <a:gd name="T95" fmla="*/ 236 h 420"/>
                <a:gd name="T96" fmla="*/ 10 w 278"/>
                <a:gd name="T97" fmla="*/ 208 h 420"/>
                <a:gd name="T98" fmla="*/ 20 w 278"/>
                <a:gd name="T99" fmla="*/ 182 h 420"/>
                <a:gd name="T100" fmla="*/ 36 w 278"/>
                <a:gd name="T101" fmla="*/ 160 h 420"/>
                <a:gd name="T102" fmla="*/ 54 w 278"/>
                <a:gd name="T103" fmla="*/ 141 h 420"/>
                <a:gd name="T104" fmla="*/ 77 w 278"/>
                <a:gd name="T105" fmla="*/ 129 h 420"/>
                <a:gd name="T106" fmla="*/ 103 w 278"/>
                <a:gd name="T107" fmla="*/ 119 h 420"/>
                <a:gd name="T108" fmla="*/ 133 w 278"/>
                <a:gd name="T109" fmla="*/ 117 h 420"/>
                <a:gd name="T110" fmla="*/ 163 w 278"/>
                <a:gd name="T111" fmla="*/ 121 h 420"/>
                <a:gd name="T112" fmla="*/ 188 w 278"/>
                <a:gd name="T113" fmla="*/ 129 h 420"/>
                <a:gd name="T114" fmla="*/ 208 w 278"/>
                <a:gd name="T115" fmla="*/ 143 h 420"/>
                <a:gd name="T116" fmla="*/ 226 w 278"/>
                <a:gd name="T117" fmla="*/ 162 h 420"/>
                <a:gd name="T118" fmla="*/ 226 w 278"/>
                <a:gd name="T1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420">
                  <a:moveTo>
                    <a:pt x="141" y="160"/>
                  </a:moveTo>
                  <a:lnTo>
                    <a:pt x="115" y="164"/>
                  </a:lnTo>
                  <a:lnTo>
                    <a:pt x="93" y="174"/>
                  </a:lnTo>
                  <a:lnTo>
                    <a:pt x="77" y="190"/>
                  </a:lnTo>
                  <a:lnTo>
                    <a:pt x="64" y="210"/>
                  </a:lnTo>
                  <a:lnTo>
                    <a:pt x="58" y="238"/>
                  </a:lnTo>
                  <a:lnTo>
                    <a:pt x="54" y="269"/>
                  </a:lnTo>
                  <a:lnTo>
                    <a:pt x="58" y="301"/>
                  </a:lnTo>
                  <a:lnTo>
                    <a:pt x="64" y="327"/>
                  </a:lnTo>
                  <a:lnTo>
                    <a:pt x="77" y="349"/>
                  </a:lnTo>
                  <a:lnTo>
                    <a:pt x="93" y="365"/>
                  </a:lnTo>
                  <a:lnTo>
                    <a:pt x="115" y="372"/>
                  </a:lnTo>
                  <a:lnTo>
                    <a:pt x="141" y="376"/>
                  </a:lnTo>
                  <a:lnTo>
                    <a:pt x="167" y="372"/>
                  </a:lnTo>
                  <a:lnTo>
                    <a:pt x="186" y="363"/>
                  </a:lnTo>
                  <a:lnTo>
                    <a:pt x="204" y="347"/>
                  </a:lnTo>
                  <a:lnTo>
                    <a:pt x="216" y="325"/>
                  </a:lnTo>
                  <a:lnTo>
                    <a:pt x="224" y="299"/>
                  </a:lnTo>
                  <a:lnTo>
                    <a:pt x="226" y="269"/>
                  </a:lnTo>
                  <a:lnTo>
                    <a:pt x="224" y="236"/>
                  </a:lnTo>
                  <a:lnTo>
                    <a:pt x="218" y="210"/>
                  </a:lnTo>
                  <a:lnTo>
                    <a:pt x="204" y="188"/>
                  </a:lnTo>
                  <a:lnTo>
                    <a:pt x="188" y="174"/>
                  </a:lnTo>
                  <a:lnTo>
                    <a:pt x="167" y="164"/>
                  </a:lnTo>
                  <a:lnTo>
                    <a:pt x="141" y="160"/>
                  </a:lnTo>
                  <a:close/>
                  <a:moveTo>
                    <a:pt x="226" y="0"/>
                  </a:moveTo>
                  <a:lnTo>
                    <a:pt x="278" y="0"/>
                  </a:lnTo>
                  <a:lnTo>
                    <a:pt x="278" y="412"/>
                  </a:lnTo>
                  <a:lnTo>
                    <a:pt x="250" y="412"/>
                  </a:lnTo>
                  <a:lnTo>
                    <a:pt x="242" y="412"/>
                  </a:lnTo>
                  <a:lnTo>
                    <a:pt x="236" y="410"/>
                  </a:lnTo>
                  <a:lnTo>
                    <a:pt x="230" y="406"/>
                  </a:lnTo>
                  <a:lnTo>
                    <a:pt x="228" y="400"/>
                  </a:lnTo>
                  <a:lnTo>
                    <a:pt x="226" y="392"/>
                  </a:lnTo>
                  <a:lnTo>
                    <a:pt x="226" y="370"/>
                  </a:lnTo>
                  <a:lnTo>
                    <a:pt x="210" y="390"/>
                  </a:lnTo>
                  <a:lnTo>
                    <a:pt x="188" y="406"/>
                  </a:lnTo>
                  <a:lnTo>
                    <a:pt x="161" y="416"/>
                  </a:lnTo>
                  <a:lnTo>
                    <a:pt x="129" y="420"/>
                  </a:lnTo>
                  <a:lnTo>
                    <a:pt x="99" y="418"/>
                  </a:lnTo>
                  <a:lnTo>
                    <a:pt x="73" y="410"/>
                  </a:lnTo>
                  <a:lnTo>
                    <a:pt x="52" y="396"/>
                  </a:lnTo>
                  <a:lnTo>
                    <a:pt x="34" y="378"/>
                  </a:lnTo>
                  <a:lnTo>
                    <a:pt x="20" y="357"/>
                  </a:lnTo>
                  <a:lnTo>
                    <a:pt x="10" y="331"/>
                  </a:lnTo>
                  <a:lnTo>
                    <a:pt x="2" y="301"/>
                  </a:lnTo>
                  <a:lnTo>
                    <a:pt x="0" y="269"/>
                  </a:lnTo>
                  <a:lnTo>
                    <a:pt x="2" y="236"/>
                  </a:lnTo>
                  <a:lnTo>
                    <a:pt x="10" y="208"/>
                  </a:lnTo>
                  <a:lnTo>
                    <a:pt x="20" y="182"/>
                  </a:lnTo>
                  <a:lnTo>
                    <a:pt x="36" y="160"/>
                  </a:lnTo>
                  <a:lnTo>
                    <a:pt x="54" y="141"/>
                  </a:lnTo>
                  <a:lnTo>
                    <a:pt x="77" y="129"/>
                  </a:lnTo>
                  <a:lnTo>
                    <a:pt x="103" y="119"/>
                  </a:lnTo>
                  <a:lnTo>
                    <a:pt x="133" y="117"/>
                  </a:lnTo>
                  <a:lnTo>
                    <a:pt x="163" y="121"/>
                  </a:lnTo>
                  <a:lnTo>
                    <a:pt x="188" y="129"/>
                  </a:lnTo>
                  <a:lnTo>
                    <a:pt x="208" y="143"/>
                  </a:lnTo>
                  <a:lnTo>
                    <a:pt x="226" y="162"/>
                  </a:lnTo>
                  <a:lnTo>
                    <a:pt x="22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8" name="Freeform 60">
              <a:extLst>
                <a:ext uri="{FF2B5EF4-FFF2-40B4-BE49-F238E27FC236}">
                  <a16:creationId xmlns:a16="http://schemas.microsoft.com/office/drawing/2014/main" id="{FAF2144B-6C18-4359-9742-8530565FDEF2}"/>
                </a:ext>
              </a:extLst>
            </p:cNvPr>
            <p:cNvSpPr>
              <a:spLocks noEditPoints="1"/>
            </p:cNvSpPr>
            <p:nvPr userDrawn="1"/>
          </p:nvSpPr>
          <p:spPr bwMode="auto">
            <a:xfrm>
              <a:off x="3293441" y="1573735"/>
              <a:ext cx="113744" cy="134024"/>
            </a:xfrm>
            <a:custGeom>
              <a:avLst/>
              <a:gdLst>
                <a:gd name="T0" fmla="*/ 139 w 258"/>
                <a:gd name="T1" fmla="*/ 43 h 303"/>
                <a:gd name="T2" fmla="*/ 117 w 258"/>
                <a:gd name="T3" fmla="*/ 45 h 303"/>
                <a:gd name="T4" fmla="*/ 97 w 258"/>
                <a:gd name="T5" fmla="*/ 51 h 303"/>
                <a:gd name="T6" fmla="*/ 81 w 258"/>
                <a:gd name="T7" fmla="*/ 65 h 303"/>
                <a:gd name="T8" fmla="*/ 67 w 258"/>
                <a:gd name="T9" fmla="*/ 81 h 303"/>
                <a:gd name="T10" fmla="*/ 57 w 258"/>
                <a:gd name="T11" fmla="*/ 101 h 303"/>
                <a:gd name="T12" fmla="*/ 54 w 258"/>
                <a:gd name="T13" fmla="*/ 125 h 303"/>
                <a:gd name="T14" fmla="*/ 208 w 258"/>
                <a:gd name="T15" fmla="*/ 125 h 303"/>
                <a:gd name="T16" fmla="*/ 208 w 258"/>
                <a:gd name="T17" fmla="*/ 121 h 303"/>
                <a:gd name="T18" fmla="*/ 206 w 258"/>
                <a:gd name="T19" fmla="*/ 97 h 303"/>
                <a:gd name="T20" fmla="*/ 200 w 258"/>
                <a:gd name="T21" fmla="*/ 77 h 303"/>
                <a:gd name="T22" fmla="*/ 190 w 258"/>
                <a:gd name="T23" fmla="*/ 63 h 303"/>
                <a:gd name="T24" fmla="*/ 176 w 258"/>
                <a:gd name="T25" fmla="*/ 51 h 303"/>
                <a:gd name="T26" fmla="*/ 161 w 258"/>
                <a:gd name="T27" fmla="*/ 45 h 303"/>
                <a:gd name="T28" fmla="*/ 139 w 258"/>
                <a:gd name="T29" fmla="*/ 43 h 303"/>
                <a:gd name="T30" fmla="*/ 139 w 258"/>
                <a:gd name="T31" fmla="*/ 0 h 303"/>
                <a:gd name="T32" fmla="*/ 166 w 258"/>
                <a:gd name="T33" fmla="*/ 2 h 303"/>
                <a:gd name="T34" fmla="*/ 190 w 258"/>
                <a:gd name="T35" fmla="*/ 10 h 303"/>
                <a:gd name="T36" fmla="*/ 210 w 258"/>
                <a:gd name="T37" fmla="*/ 22 h 303"/>
                <a:gd name="T38" fmla="*/ 226 w 258"/>
                <a:gd name="T39" fmla="*/ 35 h 303"/>
                <a:gd name="T40" fmla="*/ 240 w 258"/>
                <a:gd name="T41" fmla="*/ 55 h 303"/>
                <a:gd name="T42" fmla="*/ 250 w 258"/>
                <a:gd name="T43" fmla="*/ 77 h 303"/>
                <a:gd name="T44" fmla="*/ 256 w 258"/>
                <a:gd name="T45" fmla="*/ 103 h 303"/>
                <a:gd name="T46" fmla="*/ 258 w 258"/>
                <a:gd name="T47" fmla="*/ 131 h 303"/>
                <a:gd name="T48" fmla="*/ 254 w 258"/>
                <a:gd name="T49" fmla="*/ 164 h 303"/>
                <a:gd name="T50" fmla="*/ 52 w 258"/>
                <a:gd name="T51" fmla="*/ 164 h 303"/>
                <a:gd name="T52" fmla="*/ 55 w 258"/>
                <a:gd name="T53" fmla="*/ 192 h 303"/>
                <a:gd name="T54" fmla="*/ 65 w 258"/>
                <a:gd name="T55" fmla="*/ 216 h 303"/>
                <a:gd name="T56" fmla="*/ 79 w 258"/>
                <a:gd name="T57" fmla="*/ 236 h 303"/>
                <a:gd name="T58" fmla="*/ 99 w 258"/>
                <a:gd name="T59" fmla="*/ 248 h 303"/>
                <a:gd name="T60" fmla="*/ 123 w 258"/>
                <a:gd name="T61" fmla="*/ 255 h 303"/>
                <a:gd name="T62" fmla="*/ 151 w 258"/>
                <a:gd name="T63" fmla="*/ 259 h 303"/>
                <a:gd name="T64" fmla="*/ 180 w 258"/>
                <a:gd name="T65" fmla="*/ 255 h 303"/>
                <a:gd name="T66" fmla="*/ 204 w 258"/>
                <a:gd name="T67" fmla="*/ 249 h 303"/>
                <a:gd name="T68" fmla="*/ 224 w 258"/>
                <a:gd name="T69" fmla="*/ 236 h 303"/>
                <a:gd name="T70" fmla="*/ 246 w 258"/>
                <a:gd name="T71" fmla="*/ 269 h 303"/>
                <a:gd name="T72" fmla="*/ 226 w 258"/>
                <a:gd name="T73" fmla="*/ 285 h 303"/>
                <a:gd name="T74" fmla="*/ 202 w 258"/>
                <a:gd name="T75" fmla="*/ 295 h 303"/>
                <a:gd name="T76" fmla="*/ 176 w 258"/>
                <a:gd name="T77" fmla="*/ 301 h 303"/>
                <a:gd name="T78" fmla="*/ 147 w 258"/>
                <a:gd name="T79" fmla="*/ 303 h 303"/>
                <a:gd name="T80" fmla="*/ 115 w 258"/>
                <a:gd name="T81" fmla="*/ 301 h 303"/>
                <a:gd name="T82" fmla="*/ 85 w 258"/>
                <a:gd name="T83" fmla="*/ 293 h 303"/>
                <a:gd name="T84" fmla="*/ 61 w 258"/>
                <a:gd name="T85" fmla="*/ 281 h 303"/>
                <a:gd name="T86" fmla="*/ 40 w 258"/>
                <a:gd name="T87" fmla="*/ 263 h 303"/>
                <a:gd name="T88" fmla="*/ 24 w 258"/>
                <a:gd name="T89" fmla="*/ 242 h 303"/>
                <a:gd name="T90" fmla="*/ 10 w 258"/>
                <a:gd name="T91" fmla="*/ 216 h 303"/>
                <a:gd name="T92" fmla="*/ 2 w 258"/>
                <a:gd name="T93" fmla="*/ 184 h 303"/>
                <a:gd name="T94" fmla="*/ 0 w 258"/>
                <a:gd name="T95" fmla="*/ 148 h 303"/>
                <a:gd name="T96" fmla="*/ 2 w 258"/>
                <a:gd name="T97" fmla="*/ 115 h 303"/>
                <a:gd name="T98" fmla="*/ 10 w 258"/>
                <a:gd name="T99" fmla="*/ 85 h 303"/>
                <a:gd name="T100" fmla="*/ 24 w 258"/>
                <a:gd name="T101" fmla="*/ 59 h 303"/>
                <a:gd name="T102" fmla="*/ 40 w 258"/>
                <a:gd name="T103" fmla="*/ 39 h 303"/>
                <a:gd name="T104" fmla="*/ 59 w 258"/>
                <a:gd name="T105" fmla="*/ 22 h 303"/>
                <a:gd name="T106" fmla="*/ 83 w 258"/>
                <a:gd name="T107" fmla="*/ 10 h 303"/>
                <a:gd name="T108" fmla="*/ 109 w 258"/>
                <a:gd name="T109" fmla="*/ 2 h 303"/>
                <a:gd name="T110" fmla="*/ 139 w 258"/>
                <a:gd name="T11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3">
                  <a:moveTo>
                    <a:pt x="139" y="43"/>
                  </a:moveTo>
                  <a:lnTo>
                    <a:pt x="117" y="45"/>
                  </a:lnTo>
                  <a:lnTo>
                    <a:pt x="97" y="51"/>
                  </a:lnTo>
                  <a:lnTo>
                    <a:pt x="81" y="65"/>
                  </a:lnTo>
                  <a:lnTo>
                    <a:pt x="67" y="81"/>
                  </a:lnTo>
                  <a:lnTo>
                    <a:pt x="57" y="101"/>
                  </a:lnTo>
                  <a:lnTo>
                    <a:pt x="54" y="125"/>
                  </a:lnTo>
                  <a:lnTo>
                    <a:pt x="208" y="125"/>
                  </a:lnTo>
                  <a:lnTo>
                    <a:pt x="208" y="121"/>
                  </a:lnTo>
                  <a:lnTo>
                    <a:pt x="206" y="97"/>
                  </a:lnTo>
                  <a:lnTo>
                    <a:pt x="200" y="77"/>
                  </a:lnTo>
                  <a:lnTo>
                    <a:pt x="190" y="63"/>
                  </a:lnTo>
                  <a:lnTo>
                    <a:pt x="176" y="51"/>
                  </a:lnTo>
                  <a:lnTo>
                    <a:pt x="161" y="45"/>
                  </a:lnTo>
                  <a:lnTo>
                    <a:pt x="139" y="43"/>
                  </a:lnTo>
                  <a:close/>
                  <a:moveTo>
                    <a:pt x="139" y="0"/>
                  </a:moveTo>
                  <a:lnTo>
                    <a:pt x="166" y="2"/>
                  </a:lnTo>
                  <a:lnTo>
                    <a:pt x="190" y="10"/>
                  </a:lnTo>
                  <a:lnTo>
                    <a:pt x="210" y="22"/>
                  </a:lnTo>
                  <a:lnTo>
                    <a:pt x="226" y="35"/>
                  </a:lnTo>
                  <a:lnTo>
                    <a:pt x="240" y="55"/>
                  </a:lnTo>
                  <a:lnTo>
                    <a:pt x="250" y="77"/>
                  </a:lnTo>
                  <a:lnTo>
                    <a:pt x="256" y="103"/>
                  </a:lnTo>
                  <a:lnTo>
                    <a:pt x="258" y="131"/>
                  </a:lnTo>
                  <a:lnTo>
                    <a:pt x="254" y="164"/>
                  </a:lnTo>
                  <a:lnTo>
                    <a:pt x="52" y="164"/>
                  </a:lnTo>
                  <a:lnTo>
                    <a:pt x="55" y="192"/>
                  </a:lnTo>
                  <a:lnTo>
                    <a:pt x="65" y="216"/>
                  </a:lnTo>
                  <a:lnTo>
                    <a:pt x="79" y="236"/>
                  </a:lnTo>
                  <a:lnTo>
                    <a:pt x="99" y="248"/>
                  </a:lnTo>
                  <a:lnTo>
                    <a:pt x="123" y="255"/>
                  </a:lnTo>
                  <a:lnTo>
                    <a:pt x="151" y="259"/>
                  </a:lnTo>
                  <a:lnTo>
                    <a:pt x="180" y="255"/>
                  </a:lnTo>
                  <a:lnTo>
                    <a:pt x="204" y="249"/>
                  </a:lnTo>
                  <a:lnTo>
                    <a:pt x="224" y="236"/>
                  </a:lnTo>
                  <a:lnTo>
                    <a:pt x="246" y="269"/>
                  </a:lnTo>
                  <a:lnTo>
                    <a:pt x="226" y="285"/>
                  </a:lnTo>
                  <a:lnTo>
                    <a:pt x="202" y="295"/>
                  </a:lnTo>
                  <a:lnTo>
                    <a:pt x="176" y="301"/>
                  </a:lnTo>
                  <a:lnTo>
                    <a:pt x="147" y="303"/>
                  </a:lnTo>
                  <a:lnTo>
                    <a:pt x="115" y="301"/>
                  </a:lnTo>
                  <a:lnTo>
                    <a:pt x="85" y="293"/>
                  </a:lnTo>
                  <a:lnTo>
                    <a:pt x="61" y="281"/>
                  </a:lnTo>
                  <a:lnTo>
                    <a:pt x="40" y="263"/>
                  </a:lnTo>
                  <a:lnTo>
                    <a:pt x="24" y="242"/>
                  </a:lnTo>
                  <a:lnTo>
                    <a:pt x="10" y="216"/>
                  </a:lnTo>
                  <a:lnTo>
                    <a:pt x="2" y="184"/>
                  </a:lnTo>
                  <a:lnTo>
                    <a:pt x="0" y="148"/>
                  </a:lnTo>
                  <a:lnTo>
                    <a:pt x="2" y="115"/>
                  </a:lnTo>
                  <a:lnTo>
                    <a:pt x="10" y="85"/>
                  </a:lnTo>
                  <a:lnTo>
                    <a:pt x="24" y="59"/>
                  </a:lnTo>
                  <a:lnTo>
                    <a:pt x="40" y="39"/>
                  </a:lnTo>
                  <a:lnTo>
                    <a:pt x="59" y="22"/>
                  </a:lnTo>
                  <a:lnTo>
                    <a:pt x="83" y="10"/>
                  </a:lnTo>
                  <a:lnTo>
                    <a:pt x="109"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grpSp>
    </p:spTree>
    <p:extLst>
      <p:ext uri="{BB962C8B-B14F-4D97-AF65-F5344CB8AC3E}">
        <p14:creationId xmlns:p14="http://schemas.microsoft.com/office/powerpoint/2010/main" val="2863497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 dark gradi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BCBA1A3-F06B-4529-BCF9-52607BBBAAE6}"/>
              </a:ext>
            </a:extLst>
          </p:cNvPr>
          <p:cNvSpPr>
            <a:spLocks noGrp="1"/>
          </p:cNvSpPr>
          <p:nvPr>
            <p:ph type="ctrTitle" hasCustomPrompt="1"/>
          </p:nvPr>
        </p:nvSpPr>
        <p:spPr>
          <a:xfrm>
            <a:off x="462848" y="3702430"/>
            <a:ext cx="11257205" cy="1056700"/>
          </a:xfrm>
        </p:spPr>
        <p:txBody>
          <a:bodyPr wrap="square" anchor="b" anchorCtr="0">
            <a:spAutoFit/>
          </a:bodyPr>
          <a:lstStyle>
            <a:lvl1pPr algn="l">
              <a:lnSpc>
                <a:spcPct val="70000"/>
              </a:lnSpc>
              <a:defRPr sz="8666" b="0">
                <a:solidFill>
                  <a:schemeClr val="tx1">
                    <a:alpha val="90000"/>
                  </a:schemeClr>
                </a:solidFill>
                <a:latin typeface="+mj-lt"/>
                <a:ea typeface="Intel Clear Pro" panose="020B0804020202060201" pitchFamily="34" charset="0"/>
                <a:cs typeface="Intel Clear Pro" panose="020B0804020202060201" pitchFamily="34" charset="0"/>
              </a:defRPr>
            </a:lvl1pPr>
          </a:lstStyle>
          <a:p>
            <a:r>
              <a:rPr lang="en-US" dirty="0"/>
              <a:t>Click to edit title</a:t>
            </a:r>
          </a:p>
        </p:txBody>
      </p:sp>
    </p:spTree>
    <p:extLst>
      <p:ext uri="{BB962C8B-B14F-4D97-AF65-F5344CB8AC3E}">
        <p14:creationId xmlns:p14="http://schemas.microsoft.com/office/powerpoint/2010/main" val="1218843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 - dark gradi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rgbClr val="0071C5">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4121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424AE-DE68-4BBE-8A2B-AFCEDE19A80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5A939FF-CF48-4EC1-A2A0-39562611B7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4367867-A25E-4D25-B704-0BE0C24536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1732F33-7A63-49DD-9205-5D9E39F528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57F1FD-7C2F-4A77-9A86-C98AF8A8CA9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8FCDE9-E125-4193-89B3-E16DA70B1FE6}"/>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8" name="Footer Placeholder 7">
            <a:extLst>
              <a:ext uri="{FF2B5EF4-FFF2-40B4-BE49-F238E27FC236}">
                <a16:creationId xmlns:a16="http://schemas.microsoft.com/office/drawing/2014/main" id="{1763FA75-4AD5-4D01-9906-D7208AB343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7ED7EB5-4233-4540-87E4-DFA1F7F70111}"/>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15692812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Blank - dark gradien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grpSp>
        <p:nvGrpSpPr>
          <p:cNvPr id="41" name="Group 40">
            <a:extLst>
              <a:ext uri="{FF2B5EF4-FFF2-40B4-BE49-F238E27FC236}">
                <a16:creationId xmlns:a16="http://schemas.microsoft.com/office/drawing/2014/main" id="{E75C3F5A-CC2F-4694-9FB7-C3A1B32D9C6B}"/>
              </a:ext>
            </a:extLst>
          </p:cNvPr>
          <p:cNvGrpSpPr/>
          <p:nvPr userDrawn="1"/>
        </p:nvGrpSpPr>
        <p:grpSpPr>
          <a:xfrm>
            <a:off x="602395" y="514776"/>
            <a:ext cx="2875329" cy="1192983"/>
            <a:chOff x="602395" y="514776"/>
            <a:chExt cx="2875329" cy="1192983"/>
          </a:xfrm>
        </p:grpSpPr>
        <p:sp>
          <p:nvSpPr>
            <p:cNvPr id="42" name="Freeform 36">
              <a:extLst>
                <a:ext uri="{FF2B5EF4-FFF2-40B4-BE49-F238E27FC236}">
                  <a16:creationId xmlns:a16="http://schemas.microsoft.com/office/drawing/2014/main" id="{AB662482-6EFB-4725-9105-37A787CBBB0E}"/>
                </a:ext>
              </a:extLst>
            </p:cNvPr>
            <p:cNvSpPr>
              <a:spLocks noEditPoints="1"/>
            </p:cNvSpPr>
            <p:nvPr userDrawn="1"/>
          </p:nvSpPr>
          <p:spPr bwMode="auto">
            <a:xfrm>
              <a:off x="602395" y="514776"/>
              <a:ext cx="1665592" cy="1097757"/>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3" name="Freeform 37">
              <a:extLst>
                <a:ext uri="{FF2B5EF4-FFF2-40B4-BE49-F238E27FC236}">
                  <a16:creationId xmlns:a16="http://schemas.microsoft.com/office/drawing/2014/main" id="{BBCB9720-32C2-4504-8E66-5B3562B64F93}"/>
                </a:ext>
              </a:extLst>
            </p:cNvPr>
            <p:cNvSpPr>
              <a:spLocks noEditPoints="1"/>
            </p:cNvSpPr>
            <p:nvPr userDrawn="1"/>
          </p:nvSpPr>
          <p:spPr bwMode="auto">
            <a:xfrm>
              <a:off x="2017578" y="770481"/>
              <a:ext cx="69657" cy="68775"/>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4" name="Freeform 38">
              <a:extLst>
                <a:ext uri="{FF2B5EF4-FFF2-40B4-BE49-F238E27FC236}">
                  <a16:creationId xmlns:a16="http://schemas.microsoft.com/office/drawing/2014/main" id="{6D5ABF60-B5EF-4E37-8271-3A8B5203AC35}"/>
                </a:ext>
              </a:extLst>
            </p:cNvPr>
            <p:cNvSpPr>
              <a:spLocks noEditPoints="1"/>
            </p:cNvSpPr>
            <p:nvPr userDrawn="1"/>
          </p:nvSpPr>
          <p:spPr bwMode="auto">
            <a:xfrm>
              <a:off x="3407185" y="1533177"/>
              <a:ext cx="70539" cy="34387"/>
            </a:xfrm>
            <a:custGeom>
              <a:avLst/>
              <a:gdLst>
                <a:gd name="T0" fmla="*/ 83 w 160"/>
                <a:gd name="T1" fmla="*/ 0 h 79"/>
                <a:gd name="T2" fmla="*/ 97 w 160"/>
                <a:gd name="T3" fmla="*/ 0 h 79"/>
                <a:gd name="T4" fmla="*/ 123 w 160"/>
                <a:gd name="T5" fmla="*/ 45 h 79"/>
                <a:gd name="T6" fmla="*/ 146 w 160"/>
                <a:gd name="T7" fmla="*/ 0 h 79"/>
                <a:gd name="T8" fmla="*/ 160 w 160"/>
                <a:gd name="T9" fmla="*/ 0 h 79"/>
                <a:gd name="T10" fmla="*/ 160 w 160"/>
                <a:gd name="T11" fmla="*/ 79 h 79"/>
                <a:gd name="T12" fmla="*/ 146 w 160"/>
                <a:gd name="T13" fmla="*/ 79 h 79"/>
                <a:gd name="T14" fmla="*/ 146 w 160"/>
                <a:gd name="T15" fmla="*/ 25 h 79"/>
                <a:gd name="T16" fmla="*/ 128 w 160"/>
                <a:gd name="T17" fmla="*/ 59 h 79"/>
                <a:gd name="T18" fmla="*/ 115 w 160"/>
                <a:gd name="T19" fmla="*/ 59 h 79"/>
                <a:gd name="T20" fmla="*/ 97 w 160"/>
                <a:gd name="T21" fmla="*/ 25 h 79"/>
                <a:gd name="T22" fmla="*/ 97 w 160"/>
                <a:gd name="T23" fmla="*/ 79 h 79"/>
                <a:gd name="T24" fmla="*/ 83 w 160"/>
                <a:gd name="T25" fmla="*/ 79 h 79"/>
                <a:gd name="T26" fmla="*/ 83 w 160"/>
                <a:gd name="T27" fmla="*/ 0 h 79"/>
                <a:gd name="T28" fmla="*/ 0 w 160"/>
                <a:gd name="T29" fmla="*/ 0 h 79"/>
                <a:gd name="T30" fmla="*/ 69 w 160"/>
                <a:gd name="T31" fmla="*/ 0 h 79"/>
                <a:gd name="T32" fmla="*/ 69 w 160"/>
                <a:gd name="T33" fmla="*/ 14 h 79"/>
                <a:gd name="T34" fmla="*/ 41 w 160"/>
                <a:gd name="T35" fmla="*/ 14 h 79"/>
                <a:gd name="T36" fmla="*/ 41 w 160"/>
                <a:gd name="T37" fmla="*/ 79 h 79"/>
                <a:gd name="T38" fmla="*/ 27 w 160"/>
                <a:gd name="T39" fmla="*/ 79 h 79"/>
                <a:gd name="T40" fmla="*/ 27 w 160"/>
                <a:gd name="T41" fmla="*/ 14 h 79"/>
                <a:gd name="T42" fmla="*/ 0 w 160"/>
                <a:gd name="T43" fmla="*/ 14 h 79"/>
                <a:gd name="T44" fmla="*/ 0 w 160"/>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79">
                  <a:moveTo>
                    <a:pt x="83" y="0"/>
                  </a:moveTo>
                  <a:lnTo>
                    <a:pt x="97" y="0"/>
                  </a:lnTo>
                  <a:lnTo>
                    <a:pt x="123" y="45"/>
                  </a:lnTo>
                  <a:lnTo>
                    <a:pt x="146" y="0"/>
                  </a:lnTo>
                  <a:lnTo>
                    <a:pt x="160" y="0"/>
                  </a:lnTo>
                  <a:lnTo>
                    <a:pt x="160" y="79"/>
                  </a:lnTo>
                  <a:lnTo>
                    <a:pt x="146" y="79"/>
                  </a:lnTo>
                  <a:lnTo>
                    <a:pt x="146" y="25"/>
                  </a:lnTo>
                  <a:lnTo>
                    <a:pt x="128" y="59"/>
                  </a:lnTo>
                  <a:lnTo>
                    <a:pt x="115" y="59"/>
                  </a:lnTo>
                  <a:lnTo>
                    <a:pt x="97" y="25"/>
                  </a:lnTo>
                  <a:lnTo>
                    <a:pt x="97" y="79"/>
                  </a:lnTo>
                  <a:lnTo>
                    <a:pt x="83" y="79"/>
                  </a:lnTo>
                  <a:lnTo>
                    <a:pt x="83" y="0"/>
                  </a:lnTo>
                  <a:close/>
                  <a:moveTo>
                    <a:pt x="0" y="0"/>
                  </a:moveTo>
                  <a:lnTo>
                    <a:pt x="69" y="0"/>
                  </a:lnTo>
                  <a:lnTo>
                    <a:pt x="69" y="14"/>
                  </a:lnTo>
                  <a:lnTo>
                    <a:pt x="41" y="14"/>
                  </a:lnTo>
                  <a:lnTo>
                    <a:pt x="41" y="79"/>
                  </a:lnTo>
                  <a:lnTo>
                    <a:pt x="27" y="79"/>
                  </a:lnTo>
                  <a:lnTo>
                    <a:pt x="27" y="14"/>
                  </a:lnTo>
                  <a:lnTo>
                    <a:pt x="0" y="14"/>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5" name="Freeform 39">
              <a:extLst>
                <a:ext uri="{FF2B5EF4-FFF2-40B4-BE49-F238E27FC236}">
                  <a16:creationId xmlns:a16="http://schemas.microsoft.com/office/drawing/2014/main" id="{873E56E2-21B7-4DE5-A599-631A15F9D0E0}"/>
                </a:ext>
              </a:extLst>
            </p:cNvPr>
            <p:cNvSpPr>
              <a:spLocks noEditPoints="1"/>
            </p:cNvSpPr>
            <p:nvPr userDrawn="1"/>
          </p:nvSpPr>
          <p:spPr bwMode="auto">
            <a:xfrm>
              <a:off x="2118975" y="1310097"/>
              <a:ext cx="113744" cy="134024"/>
            </a:xfrm>
            <a:custGeom>
              <a:avLst/>
              <a:gdLst>
                <a:gd name="T0" fmla="*/ 141 w 258"/>
                <a:gd name="T1" fmla="*/ 42 h 304"/>
                <a:gd name="T2" fmla="*/ 117 w 258"/>
                <a:gd name="T3" fmla="*/ 46 h 304"/>
                <a:gd name="T4" fmla="*/ 98 w 258"/>
                <a:gd name="T5" fmla="*/ 52 h 304"/>
                <a:gd name="T6" fmla="*/ 82 w 258"/>
                <a:gd name="T7" fmla="*/ 66 h 304"/>
                <a:gd name="T8" fmla="*/ 68 w 258"/>
                <a:gd name="T9" fmla="*/ 82 h 304"/>
                <a:gd name="T10" fmla="*/ 58 w 258"/>
                <a:gd name="T11" fmla="*/ 101 h 304"/>
                <a:gd name="T12" fmla="*/ 54 w 258"/>
                <a:gd name="T13" fmla="*/ 125 h 304"/>
                <a:gd name="T14" fmla="*/ 211 w 258"/>
                <a:gd name="T15" fmla="*/ 125 h 304"/>
                <a:gd name="T16" fmla="*/ 211 w 258"/>
                <a:gd name="T17" fmla="*/ 119 h 304"/>
                <a:gd name="T18" fmla="*/ 209 w 258"/>
                <a:gd name="T19" fmla="*/ 97 h 304"/>
                <a:gd name="T20" fmla="*/ 203 w 258"/>
                <a:gd name="T21" fmla="*/ 78 h 304"/>
                <a:gd name="T22" fmla="*/ 193 w 258"/>
                <a:gd name="T23" fmla="*/ 64 h 304"/>
                <a:gd name="T24" fmla="*/ 179 w 258"/>
                <a:gd name="T25" fmla="*/ 52 h 304"/>
                <a:gd name="T26" fmla="*/ 161 w 258"/>
                <a:gd name="T27" fmla="*/ 46 h 304"/>
                <a:gd name="T28" fmla="*/ 141 w 258"/>
                <a:gd name="T29" fmla="*/ 42 h 304"/>
                <a:gd name="T30" fmla="*/ 139 w 258"/>
                <a:gd name="T31" fmla="*/ 0 h 304"/>
                <a:gd name="T32" fmla="*/ 167 w 258"/>
                <a:gd name="T33" fmla="*/ 2 h 304"/>
                <a:gd name="T34" fmla="*/ 191 w 258"/>
                <a:gd name="T35" fmla="*/ 10 h 304"/>
                <a:gd name="T36" fmla="*/ 211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2 w 258"/>
                <a:gd name="T51" fmla="*/ 165 h 304"/>
                <a:gd name="T52" fmla="*/ 58 w 258"/>
                <a:gd name="T53" fmla="*/ 193 h 304"/>
                <a:gd name="T54" fmla="*/ 66 w 258"/>
                <a:gd name="T55" fmla="*/ 216 h 304"/>
                <a:gd name="T56" fmla="*/ 80 w 258"/>
                <a:gd name="T57" fmla="*/ 234 h 304"/>
                <a:gd name="T58" fmla="*/ 100 w 258"/>
                <a:gd name="T59" fmla="*/ 248 h 304"/>
                <a:gd name="T60" fmla="*/ 123 w 258"/>
                <a:gd name="T61" fmla="*/ 256 h 304"/>
                <a:gd name="T62" fmla="*/ 153 w 258"/>
                <a:gd name="T63" fmla="*/ 260 h 304"/>
                <a:gd name="T64" fmla="*/ 181 w 258"/>
                <a:gd name="T65" fmla="*/ 256 h 304"/>
                <a:gd name="T66" fmla="*/ 205 w 258"/>
                <a:gd name="T67" fmla="*/ 248 h 304"/>
                <a:gd name="T68" fmla="*/ 226 w 258"/>
                <a:gd name="T69" fmla="*/ 236 h 304"/>
                <a:gd name="T70" fmla="*/ 248 w 258"/>
                <a:gd name="T71" fmla="*/ 270 h 304"/>
                <a:gd name="T72" fmla="*/ 226 w 258"/>
                <a:gd name="T73" fmla="*/ 286 h 304"/>
                <a:gd name="T74" fmla="*/ 203 w 258"/>
                <a:gd name="T75" fmla="*/ 296 h 304"/>
                <a:gd name="T76" fmla="*/ 177 w 258"/>
                <a:gd name="T77" fmla="*/ 302 h 304"/>
                <a:gd name="T78" fmla="*/ 147 w 258"/>
                <a:gd name="T79" fmla="*/ 304 h 304"/>
                <a:gd name="T80" fmla="*/ 115 w 258"/>
                <a:gd name="T81" fmla="*/ 302 h 304"/>
                <a:gd name="T82" fmla="*/ 88 w 258"/>
                <a:gd name="T83" fmla="*/ 294 h 304"/>
                <a:gd name="T84" fmla="*/ 62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2 w 258"/>
                <a:gd name="T105" fmla="*/ 22 h 304"/>
                <a:gd name="T106" fmla="*/ 84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8" y="52"/>
                  </a:lnTo>
                  <a:lnTo>
                    <a:pt x="82" y="66"/>
                  </a:lnTo>
                  <a:lnTo>
                    <a:pt x="68" y="82"/>
                  </a:lnTo>
                  <a:lnTo>
                    <a:pt x="58" y="101"/>
                  </a:lnTo>
                  <a:lnTo>
                    <a:pt x="54" y="125"/>
                  </a:lnTo>
                  <a:lnTo>
                    <a:pt x="211" y="125"/>
                  </a:lnTo>
                  <a:lnTo>
                    <a:pt x="211" y="119"/>
                  </a:lnTo>
                  <a:lnTo>
                    <a:pt x="209" y="97"/>
                  </a:lnTo>
                  <a:lnTo>
                    <a:pt x="203" y="78"/>
                  </a:lnTo>
                  <a:lnTo>
                    <a:pt x="193" y="64"/>
                  </a:lnTo>
                  <a:lnTo>
                    <a:pt x="179" y="52"/>
                  </a:lnTo>
                  <a:lnTo>
                    <a:pt x="161" y="46"/>
                  </a:lnTo>
                  <a:lnTo>
                    <a:pt x="141" y="42"/>
                  </a:lnTo>
                  <a:close/>
                  <a:moveTo>
                    <a:pt x="139" y="0"/>
                  </a:moveTo>
                  <a:lnTo>
                    <a:pt x="167" y="2"/>
                  </a:lnTo>
                  <a:lnTo>
                    <a:pt x="191" y="10"/>
                  </a:lnTo>
                  <a:lnTo>
                    <a:pt x="211" y="20"/>
                  </a:lnTo>
                  <a:lnTo>
                    <a:pt x="228" y="36"/>
                  </a:lnTo>
                  <a:lnTo>
                    <a:pt x="240" y="56"/>
                  </a:lnTo>
                  <a:lnTo>
                    <a:pt x="250" y="78"/>
                  </a:lnTo>
                  <a:lnTo>
                    <a:pt x="256" y="103"/>
                  </a:lnTo>
                  <a:lnTo>
                    <a:pt x="258" y="129"/>
                  </a:lnTo>
                  <a:lnTo>
                    <a:pt x="256" y="165"/>
                  </a:lnTo>
                  <a:lnTo>
                    <a:pt x="52" y="165"/>
                  </a:lnTo>
                  <a:lnTo>
                    <a:pt x="58" y="193"/>
                  </a:lnTo>
                  <a:lnTo>
                    <a:pt x="66" y="216"/>
                  </a:lnTo>
                  <a:lnTo>
                    <a:pt x="80" y="234"/>
                  </a:lnTo>
                  <a:lnTo>
                    <a:pt x="100" y="248"/>
                  </a:lnTo>
                  <a:lnTo>
                    <a:pt x="123" y="256"/>
                  </a:lnTo>
                  <a:lnTo>
                    <a:pt x="153" y="260"/>
                  </a:lnTo>
                  <a:lnTo>
                    <a:pt x="181" y="256"/>
                  </a:lnTo>
                  <a:lnTo>
                    <a:pt x="205" y="248"/>
                  </a:lnTo>
                  <a:lnTo>
                    <a:pt x="226" y="236"/>
                  </a:lnTo>
                  <a:lnTo>
                    <a:pt x="248" y="270"/>
                  </a:lnTo>
                  <a:lnTo>
                    <a:pt x="226" y="286"/>
                  </a:lnTo>
                  <a:lnTo>
                    <a:pt x="203" y="296"/>
                  </a:lnTo>
                  <a:lnTo>
                    <a:pt x="177" y="302"/>
                  </a:lnTo>
                  <a:lnTo>
                    <a:pt x="147" y="304"/>
                  </a:lnTo>
                  <a:lnTo>
                    <a:pt x="115" y="302"/>
                  </a:lnTo>
                  <a:lnTo>
                    <a:pt x="88" y="294"/>
                  </a:lnTo>
                  <a:lnTo>
                    <a:pt x="62" y="282"/>
                  </a:lnTo>
                  <a:lnTo>
                    <a:pt x="42" y="264"/>
                  </a:lnTo>
                  <a:lnTo>
                    <a:pt x="24" y="242"/>
                  </a:lnTo>
                  <a:lnTo>
                    <a:pt x="12" y="216"/>
                  </a:lnTo>
                  <a:lnTo>
                    <a:pt x="4" y="185"/>
                  </a:lnTo>
                  <a:lnTo>
                    <a:pt x="0" y="149"/>
                  </a:lnTo>
                  <a:lnTo>
                    <a:pt x="4" y="115"/>
                  </a:lnTo>
                  <a:lnTo>
                    <a:pt x="12" y="86"/>
                  </a:lnTo>
                  <a:lnTo>
                    <a:pt x="24" y="60"/>
                  </a:lnTo>
                  <a:lnTo>
                    <a:pt x="40" y="40"/>
                  </a:lnTo>
                  <a:lnTo>
                    <a:pt x="62" y="22"/>
                  </a:lnTo>
                  <a:lnTo>
                    <a:pt x="84"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6" name="Freeform 40">
              <a:extLst>
                <a:ext uri="{FF2B5EF4-FFF2-40B4-BE49-F238E27FC236}">
                  <a16:creationId xmlns:a16="http://schemas.microsoft.com/office/drawing/2014/main" id="{4461B00B-3627-4C61-BB07-444F2CFCB3C9}"/>
                </a:ext>
              </a:extLst>
            </p:cNvPr>
            <p:cNvSpPr>
              <a:spLocks/>
            </p:cNvSpPr>
            <p:nvPr userDrawn="1"/>
          </p:nvSpPr>
          <p:spPr bwMode="auto">
            <a:xfrm>
              <a:off x="2245063" y="1313628"/>
              <a:ext cx="119916" cy="126969"/>
            </a:xfrm>
            <a:custGeom>
              <a:avLst/>
              <a:gdLst>
                <a:gd name="T0" fmla="*/ 6 w 271"/>
                <a:gd name="T1" fmla="*/ 0 h 288"/>
                <a:gd name="T2" fmla="*/ 65 w 271"/>
                <a:gd name="T3" fmla="*/ 0 h 288"/>
                <a:gd name="T4" fmla="*/ 137 w 271"/>
                <a:gd name="T5" fmla="*/ 105 h 288"/>
                <a:gd name="T6" fmla="*/ 208 w 271"/>
                <a:gd name="T7" fmla="*/ 0 h 288"/>
                <a:gd name="T8" fmla="*/ 263 w 271"/>
                <a:gd name="T9" fmla="*/ 0 h 288"/>
                <a:gd name="T10" fmla="*/ 164 w 271"/>
                <a:gd name="T11" fmla="*/ 141 h 288"/>
                <a:gd name="T12" fmla="*/ 271 w 271"/>
                <a:gd name="T13" fmla="*/ 288 h 288"/>
                <a:gd name="T14" fmla="*/ 212 w 271"/>
                <a:gd name="T15" fmla="*/ 288 h 288"/>
                <a:gd name="T16" fmla="*/ 135 w 271"/>
                <a:gd name="T17" fmla="*/ 177 h 288"/>
                <a:gd name="T18" fmla="*/ 55 w 271"/>
                <a:gd name="T19" fmla="*/ 288 h 288"/>
                <a:gd name="T20" fmla="*/ 0 w 271"/>
                <a:gd name="T21" fmla="*/ 288 h 288"/>
                <a:gd name="T22" fmla="*/ 107 w 271"/>
                <a:gd name="T23" fmla="*/ 141 h 288"/>
                <a:gd name="T24" fmla="*/ 6 w 271"/>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88">
                  <a:moveTo>
                    <a:pt x="6" y="0"/>
                  </a:moveTo>
                  <a:lnTo>
                    <a:pt x="65" y="0"/>
                  </a:lnTo>
                  <a:lnTo>
                    <a:pt x="137" y="105"/>
                  </a:lnTo>
                  <a:lnTo>
                    <a:pt x="208" y="0"/>
                  </a:lnTo>
                  <a:lnTo>
                    <a:pt x="263" y="0"/>
                  </a:lnTo>
                  <a:lnTo>
                    <a:pt x="164" y="141"/>
                  </a:lnTo>
                  <a:lnTo>
                    <a:pt x="271" y="288"/>
                  </a:lnTo>
                  <a:lnTo>
                    <a:pt x="212" y="288"/>
                  </a:lnTo>
                  <a:lnTo>
                    <a:pt x="135" y="177"/>
                  </a:lnTo>
                  <a:lnTo>
                    <a:pt x="55" y="288"/>
                  </a:lnTo>
                  <a:lnTo>
                    <a:pt x="0" y="288"/>
                  </a:lnTo>
                  <a:lnTo>
                    <a:pt x="107" y="141"/>
                  </a:lnTo>
                  <a:lnTo>
                    <a:pt x="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7" name="Freeform 41">
              <a:extLst>
                <a:ext uri="{FF2B5EF4-FFF2-40B4-BE49-F238E27FC236}">
                  <a16:creationId xmlns:a16="http://schemas.microsoft.com/office/drawing/2014/main" id="{45B57128-862E-400D-91D5-80CBC02A66C9}"/>
                </a:ext>
              </a:extLst>
            </p:cNvPr>
            <p:cNvSpPr>
              <a:spLocks noEditPoints="1"/>
            </p:cNvSpPr>
            <p:nvPr userDrawn="1"/>
          </p:nvSpPr>
          <p:spPr bwMode="auto">
            <a:xfrm>
              <a:off x="2382616" y="1310097"/>
              <a:ext cx="122561" cy="183400"/>
            </a:xfrm>
            <a:custGeom>
              <a:avLst/>
              <a:gdLst>
                <a:gd name="T0" fmla="*/ 143 w 277"/>
                <a:gd name="T1" fmla="*/ 44 h 417"/>
                <a:gd name="T2" fmla="*/ 115 w 277"/>
                <a:gd name="T3" fmla="*/ 48 h 417"/>
                <a:gd name="T4" fmla="*/ 93 w 277"/>
                <a:gd name="T5" fmla="*/ 58 h 417"/>
                <a:gd name="T6" fmla="*/ 75 w 277"/>
                <a:gd name="T7" fmla="*/ 74 h 417"/>
                <a:gd name="T8" fmla="*/ 61 w 277"/>
                <a:gd name="T9" fmla="*/ 97 h 417"/>
                <a:gd name="T10" fmla="*/ 53 w 277"/>
                <a:gd name="T11" fmla="*/ 123 h 417"/>
                <a:gd name="T12" fmla="*/ 51 w 277"/>
                <a:gd name="T13" fmla="*/ 155 h 417"/>
                <a:gd name="T14" fmla="*/ 53 w 277"/>
                <a:gd name="T15" fmla="*/ 185 h 417"/>
                <a:gd name="T16" fmla="*/ 61 w 277"/>
                <a:gd name="T17" fmla="*/ 210 h 417"/>
                <a:gd name="T18" fmla="*/ 73 w 277"/>
                <a:gd name="T19" fmla="*/ 232 h 417"/>
                <a:gd name="T20" fmla="*/ 91 w 277"/>
                <a:gd name="T21" fmla="*/ 246 h 417"/>
                <a:gd name="T22" fmla="*/ 113 w 277"/>
                <a:gd name="T23" fmla="*/ 256 h 417"/>
                <a:gd name="T24" fmla="*/ 137 w 277"/>
                <a:gd name="T25" fmla="*/ 260 h 417"/>
                <a:gd name="T26" fmla="*/ 162 w 277"/>
                <a:gd name="T27" fmla="*/ 256 h 417"/>
                <a:gd name="T28" fmla="*/ 184 w 277"/>
                <a:gd name="T29" fmla="*/ 246 h 417"/>
                <a:gd name="T30" fmla="*/ 200 w 277"/>
                <a:gd name="T31" fmla="*/ 230 h 417"/>
                <a:gd name="T32" fmla="*/ 214 w 277"/>
                <a:gd name="T33" fmla="*/ 208 h 417"/>
                <a:gd name="T34" fmla="*/ 220 w 277"/>
                <a:gd name="T35" fmla="*/ 181 h 417"/>
                <a:gd name="T36" fmla="*/ 224 w 277"/>
                <a:gd name="T37" fmla="*/ 149 h 417"/>
                <a:gd name="T38" fmla="*/ 220 w 277"/>
                <a:gd name="T39" fmla="*/ 117 h 417"/>
                <a:gd name="T40" fmla="*/ 214 w 277"/>
                <a:gd name="T41" fmla="*/ 92 h 417"/>
                <a:gd name="T42" fmla="*/ 202 w 277"/>
                <a:gd name="T43" fmla="*/ 72 h 417"/>
                <a:gd name="T44" fmla="*/ 186 w 277"/>
                <a:gd name="T45" fmla="*/ 56 h 417"/>
                <a:gd name="T46" fmla="*/ 166 w 277"/>
                <a:gd name="T47" fmla="*/ 48 h 417"/>
                <a:gd name="T48" fmla="*/ 143 w 277"/>
                <a:gd name="T49" fmla="*/ 44 h 417"/>
                <a:gd name="T50" fmla="*/ 153 w 277"/>
                <a:gd name="T51" fmla="*/ 0 h 417"/>
                <a:gd name="T52" fmla="*/ 180 w 277"/>
                <a:gd name="T53" fmla="*/ 2 h 417"/>
                <a:gd name="T54" fmla="*/ 206 w 277"/>
                <a:gd name="T55" fmla="*/ 10 h 417"/>
                <a:gd name="T56" fmla="*/ 226 w 277"/>
                <a:gd name="T57" fmla="*/ 24 h 417"/>
                <a:gd name="T58" fmla="*/ 244 w 277"/>
                <a:gd name="T59" fmla="*/ 40 h 417"/>
                <a:gd name="T60" fmla="*/ 258 w 277"/>
                <a:gd name="T61" fmla="*/ 62 h 417"/>
                <a:gd name="T62" fmla="*/ 267 w 277"/>
                <a:gd name="T63" fmla="*/ 86 h 417"/>
                <a:gd name="T64" fmla="*/ 275 w 277"/>
                <a:gd name="T65" fmla="*/ 115 h 417"/>
                <a:gd name="T66" fmla="*/ 277 w 277"/>
                <a:gd name="T67" fmla="*/ 147 h 417"/>
                <a:gd name="T68" fmla="*/ 275 w 277"/>
                <a:gd name="T69" fmla="*/ 179 h 417"/>
                <a:gd name="T70" fmla="*/ 267 w 277"/>
                <a:gd name="T71" fmla="*/ 208 h 417"/>
                <a:gd name="T72" fmla="*/ 258 w 277"/>
                <a:gd name="T73" fmla="*/ 236 h 417"/>
                <a:gd name="T74" fmla="*/ 242 w 277"/>
                <a:gd name="T75" fmla="*/ 260 h 417"/>
                <a:gd name="T76" fmla="*/ 224 w 277"/>
                <a:gd name="T77" fmla="*/ 278 h 417"/>
                <a:gd name="T78" fmla="*/ 200 w 277"/>
                <a:gd name="T79" fmla="*/ 292 h 417"/>
                <a:gd name="T80" fmla="*/ 174 w 277"/>
                <a:gd name="T81" fmla="*/ 302 h 417"/>
                <a:gd name="T82" fmla="*/ 145 w 277"/>
                <a:gd name="T83" fmla="*/ 304 h 417"/>
                <a:gd name="T84" fmla="*/ 115 w 277"/>
                <a:gd name="T85" fmla="*/ 302 h 417"/>
                <a:gd name="T86" fmla="*/ 89 w 277"/>
                <a:gd name="T87" fmla="*/ 292 h 417"/>
                <a:gd name="T88" fmla="*/ 67 w 277"/>
                <a:gd name="T89" fmla="*/ 276 h 417"/>
                <a:gd name="T90" fmla="*/ 51 w 277"/>
                <a:gd name="T91" fmla="*/ 256 h 417"/>
                <a:gd name="T92" fmla="*/ 51 w 277"/>
                <a:gd name="T93" fmla="*/ 417 h 417"/>
                <a:gd name="T94" fmla="*/ 0 w 277"/>
                <a:gd name="T95" fmla="*/ 417 h 417"/>
                <a:gd name="T96" fmla="*/ 0 w 277"/>
                <a:gd name="T97" fmla="*/ 8 h 417"/>
                <a:gd name="T98" fmla="*/ 28 w 277"/>
                <a:gd name="T99" fmla="*/ 8 h 417"/>
                <a:gd name="T100" fmla="*/ 36 w 277"/>
                <a:gd name="T101" fmla="*/ 8 h 417"/>
                <a:gd name="T102" fmla="*/ 42 w 277"/>
                <a:gd name="T103" fmla="*/ 10 h 417"/>
                <a:gd name="T104" fmla="*/ 48 w 277"/>
                <a:gd name="T105" fmla="*/ 14 h 417"/>
                <a:gd name="T106" fmla="*/ 49 w 277"/>
                <a:gd name="T107" fmla="*/ 20 h 417"/>
                <a:gd name="T108" fmla="*/ 51 w 277"/>
                <a:gd name="T109" fmla="*/ 28 h 417"/>
                <a:gd name="T110" fmla="*/ 51 w 277"/>
                <a:gd name="T111" fmla="*/ 52 h 417"/>
                <a:gd name="T112" fmla="*/ 67 w 277"/>
                <a:gd name="T113" fmla="*/ 30 h 417"/>
                <a:gd name="T114" fmla="*/ 91 w 277"/>
                <a:gd name="T115" fmla="*/ 14 h 417"/>
                <a:gd name="T116" fmla="*/ 119 w 277"/>
                <a:gd name="T117" fmla="*/ 4 h 417"/>
                <a:gd name="T118" fmla="*/ 153 w 277"/>
                <a:gd name="T119"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7" h="417">
                  <a:moveTo>
                    <a:pt x="143" y="44"/>
                  </a:moveTo>
                  <a:lnTo>
                    <a:pt x="115" y="48"/>
                  </a:lnTo>
                  <a:lnTo>
                    <a:pt x="93" y="58"/>
                  </a:lnTo>
                  <a:lnTo>
                    <a:pt x="75" y="74"/>
                  </a:lnTo>
                  <a:lnTo>
                    <a:pt x="61" y="97"/>
                  </a:lnTo>
                  <a:lnTo>
                    <a:pt x="53" y="123"/>
                  </a:lnTo>
                  <a:lnTo>
                    <a:pt x="51" y="155"/>
                  </a:lnTo>
                  <a:lnTo>
                    <a:pt x="53" y="185"/>
                  </a:lnTo>
                  <a:lnTo>
                    <a:pt x="61" y="210"/>
                  </a:lnTo>
                  <a:lnTo>
                    <a:pt x="73" y="232"/>
                  </a:lnTo>
                  <a:lnTo>
                    <a:pt x="91" y="246"/>
                  </a:lnTo>
                  <a:lnTo>
                    <a:pt x="113" y="256"/>
                  </a:lnTo>
                  <a:lnTo>
                    <a:pt x="137" y="260"/>
                  </a:lnTo>
                  <a:lnTo>
                    <a:pt x="162" y="256"/>
                  </a:lnTo>
                  <a:lnTo>
                    <a:pt x="184" y="246"/>
                  </a:lnTo>
                  <a:lnTo>
                    <a:pt x="200" y="230"/>
                  </a:lnTo>
                  <a:lnTo>
                    <a:pt x="214" y="208"/>
                  </a:lnTo>
                  <a:lnTo>
                    <a:pt x="220" y="181"/>
                  </a:lnTo>
                  <a:lnTo>
                    <a:pt x="224" y="149"/>
                  </a:lnTo>
                  <a:lnTo>
                    <a:pt x="220" y="117"/>
                  </a:lnTo>
                  <a:lnTo>
                    <a:pt x="214" y="92"/>
                  </a:lnTo>
                  <a:lnTo>
                    <a:pt x="202" y="72"/>
                  </a:lnTo>
                  <a:lnTo>
                    <a:pt x="186" y="56"/>
                  </a:lnTo>
                  <a:lnTo>
                    <a:pt x="166" y="48"/>
                  </a:lnTo>
                  <a:lnTo>
                    <a:pt x="143" y="44"/>
                  </a:lnTo>
                  <a:close/>
                  <a:moveTo>
                    <a:pt x="153" y="0"/>
                  </a:moveTo>
                  <a:lnTo>
                    <a:pt x="180" y="2"/>
                  </a:lnTo>
                  <a:lnTo>
                    <a:pt x="206" y="10"/>
                  </a:lnTo>
                  <a:lnTo>
                    <a:pt x="226" y="24"/>
                  </a:lnTo>
                  <a:lnTo>
                    <a:pt x="244" y="40"/>
                  </a:lnTo>
                  <a:lnTo>
                    <a:pt x="258" y="62"/>
                  </a:lnTo>
                  <a:lnTo>
                    <a:pt x="267" y="86"/>
                  </a:lnTo>
                  <a:lnTo>
                    <a:pt x="275" y="115"/>
                  </a:lnTo>
                  <a:lnTo>
                    <a:pt x="277" y="147"/>
                  </a:lnTo>
                  <a:lnTo>
                    <a:pt x="275" y="179"/>
                  </a:lnTo>
                  <a:lnTo>
                    <a:pt x="267" y="208"/>
                  </a:lnTo>
                  <a:lnTo>
                    <a:pt x="258" y="236"/>
                  </a:lnTo>
                  <a:lnTo>
                    <a:pt x="242" y="260"/>
                  </a:lnTo>
                  <a:lnTo>
                    <a:pt x="224" y="278"/>
                  </a:lnTo>
                  <a:lnTo>
                    <a:pt x="200" y="292"/>
                  </a:lnTo>
                  <a:lnTo>
                    <a:pt x="174" y="302"/>
                  </a:lnTo>
                  <a:lnTo>
                    <a:pt x="145" y="304"/>
                  </a:lnTo>
                  <a:lnTo>
                    <a:pt x="115" y="302"/>
                  </a:lnTo>
                  <a:lnTo>
                    <a:pt x="89" y="292"/>
                  </a:lnTo>
                  <a:lnTo>
                    <a:pt x="67" y="276"/>
                  </a:lnTo>
                  <a:lnTo>
                    <a:pt x="51" y="256"/>
                  </a:lnTo>
                  <a:lnTo>
                    <a:pt x="51" y="417"/>
                  </a:lnTo>
                  <a:lnTo>
                    <a:pt x="0" y="417"/>
                  </a:lnTo>
                  <a:lnTo>
                    <a:pt x="0" y="8"/>
                  </a:lnTo>
                  <a:lnTo>
                    <a:pt x="28" y="8"/>
                  </a:lnTo>
                  <a:lnTo>
                    <a:pt x="36" y="8"/>
                  </a:lnTo>
                  <a:lnTo>
                    <a:pt x="42" y="10"/>
                  </a:lnTo>
                  <a:lnTo>
                    <a:pt x="48" y="14"/>
                  </a:lnTo>
                  <a:lnTo>
                    <a:pt x="49" y="20"/>
                  </a:lnTo>
                  <a:lnTo>
                    <a:pt x="51" y="28"/>
                  </a:lnTo>
                  <a:lnTo>
                    <a:pt x="51" y="52"/>
                  </a:lnTo>
                  <a:lnTo>
                    <a:pt x="67" y="30"/>
                  </a:lnTo>
                  <a:lnTo>
                    <a:pt x="91" y="14"/>
                  </a:lnTo>
                  <a:lnTo>
                    <a:pt x="119" y="4"/>
                  </a:lnTo>
                  <a:lnTo>
                    <a:pt x="153"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8" name="Freeform 42">
              <a:extLst>
                <a:ext uri="{FF2B5EF4-FFF2-40B4-BE49-F238E27FC236}">
                  <a16:creationId xmlns:a16="http://schemas.microsoft.com/office/drawing/2014/main" id="{5A036FB4-D7F6-4A12-AB73-35033E6072DC}"/>
                </a:ext>
              </a:extLst>
            </p:cNvPr>
            <p:cNvSpPr>
              <a:spLocks noEditPoints="1"/>
            </p:cNvSpPr>
            <p:nvPr userDrawn="1"/>
          </p:nvSpPr>
          <p:spPr bwMode="auto">
            <a:xfrm>
              <a:off x="2526335" y="1310097"/>
              <a:ext cx="113744" cy="134024"/>
            </a:xfrm>
            <a:custGeom>
              <a:avLst/>
              <a:gdLst>
                <a:gd name="T0" fmla="*/ 141 w 258"/>
                <a:gd name="T1" fmla="*/ 42 h 304"/>
                <a:gd name="T2" fmla="*/ 117 w 258"/>
                <a:gd name="T3" fmla="*/ 46 h 304"/>
                <a:gd name="T4" fmla="*/ 97 w 258"/>
                <a:gd name="T5" fmla="*/ 52 h 304"/>
                <a:gd name="T6" fmla="*/ 81 w 258"/>
                <a:gd name="T7" fmla="*/ 66 h 304"/>
                <a:gd name="T8" fmla="*/ 67 w 258"/>
                <a:gd name="T9" fmla="*/ 82 h 304"/>
                <a:gd name="T10" fmla="*/ 57 w 258"/>
                <a:gd name="T11" fmla="*/ 101 h 304"/>
                <a:gd name="T12" fmla="*/ 53 w 258"/>
                <a:gd name="T13" fmla="*/ 125 h 304"/>
                <a:gd name="T14" fmla="*/ 210 w 258"/>
                <a:gd name="T15" fmla="*/ 125 h 304"/>
                <a:gd name="T16" fmla="*/ 210 w 258"/>
                <a:gd name="T17" fmla="*/ 119 h 304"/>
                <a:gd name="T18" fmla="*/ 208 w 258"/>
                <a:gd name="T19" fmla="*/ 97 h 304"/>
                <a:gd name="T20" fmla="*/ 200 w 258"/>
                <a:gd name="T21" fmla="*/ 78 h 304"/>
                <a:gd name="T22" fmla="*/ 190 w 258"/>
                <a:gd name="T23" fmla="*/ 64 h 304"/>
                <a:gd name="T24" fmla="*/ 178 w 258"/>
                <a:gd name="T25" fmla="*/ 52 h 304"/>
                <a:gd name="T26" fmla="*/ 160 w 258"/>
                <a:gd name="T27" fmla="*/ 46 h 304"/>
                <a:gd name="T28" fmla="*/ 141 w 258"/>
                <a:gd name="T29" fmla="*/ 42 h 304"/>
                <a:gd name="T30" fmla="*/ 139 w 258"/>
                <a:gd name="T31" fmla="*/ 0 h 304"/>
                <a:gd name="T32" fmla="*/ 166 w 258"/>
                <a:gd name="T33" fmla="*/ 2 h 304"/>
                <a:gd name="T34" fmla="*/ 190 w 258"/>
                <a:gd name="T35" fmla="*/ 10 h 304"/>
                <a:gd name="T36" fmla="*/ 210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1 w 258"/>
                <a:gd name="T51" fmla="*/ 165 h 304"/>
                <a:gd name="T52" fmla="*/ 57 w 258"/>
                <a:gd name="T53" fmla="*/ 193 h 304"/>
                <a:gd name="T54" fmla="*/ 65 w 258"/>
                <a:gd name="T55" fmla="*/ 216 h 304"/>
                <a:gd name="T56" fmla="*/ 79 w 258"/>
                <a:gd name="T57" fmla="*/ 234 h 304"/>
                <a:gd name="T58" fmla="*/ 99 w 258"/>
                <a:gd name="T59" fmla="*/ 248 h 304"/>
                <a:gd name="T60" fmla="*/ 123 w 258"/>
                <a:gd name="T61" fmla="*/ 256 h 304"/>
                <a:gd name="T62" fmla="*/ 153 w 258"/>
                <a:gd name="T63" fmla="*/ 260 h 304"/>
                <a:gd name="T64" fmla="*/ 180 w 258"/>
                <a:gd name="T65" fmla="*/ 256 h 304"/>
                <a:gd name="T66" fmla="*/ 204 w 258"/>
                <a:gd name="T67" fmla="*/ 248 h 304"/>
                <a:gd name="T68" fmla="*/ 226 w 258"/>
                <a:gd name="T69" fmla="*/ 236 h 304"/>
                <a:gd name="T70" fmla="*/ 248 w 258"/>
                <a:gd name="T71" fmla="*/ 270 h 304"/>
                <a:gd name="T72" fmla="*/ 226 w 258"/>
                <a:gd name="T73" fmla="*/ 286 h 304"/>
                <a:gd name="T74" fmla="*/ 202 w 258"/>
                <a:gd name="T75" fmla="*/ 296 h 304"/>
                <a:gd name="T76" fmla="*/ 176 w 258"/>
                <a:gd name="T77" fmla="*/ 302 h 304"/>
                <a:gd name="T78" fmla="*/ 147 w 258"/>
                <a:gd name="T79" fmla="*/ 304 h 304"/>
                <a:gd name="T80" fmla="*/ 115 w 258"/>
                <a:gd name="T81" fmla="*/ 302 h 304"/>
                <a:gd name="T82" fmla="*/ 87 w 258"/>
                <a:gd name="T83" fmla="*/ 294 h 304"/>
                <a:gd name="T84" fmla="*/ 61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1 w 258"/>
                <a:gd name="T105" fmla="*/ 22 h 304"/>
                <a:gd name="T106" fmla="*/ 83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7" y="52"/>
                  </a:lnTo>
                  <a:lnTo>
                    <a:pt x="81" y="66"/>
                  </a:lnTo>
                  <a:lnTo>
                    <a:pt x="67" y="82"/>
                  </a:lnTo>
                  <a:lnTo>
                    <a:pt x="57" y="101"/>
                  </a:lnTo>
                  <a:lnTo>
                    <a:pt x="53" y="125"/>
                  </a:lnTo>
                  <a:lnTo>
                    <a:pt x="210" y="125"/>
                  </a:lnTo>
                  <a:lnTo>
                    <a:pt x="210" y="119"/>
                  </a:lnTo>
                  <a:lnTo>
                    <a:pt x="208" y="97"/>
                  </a:lnTo>
                  <a:lnTo>
                    <a:pt x="200" y="78"/>
                  </a:lnTo>
                  <a:lnTo>
                    <a:pt x="190" y="64"/>
                  </a:lnTo>
                  <a:lnTo>
                    <a:pt x="178" y="52"/>
                  </a:lnTo>
                  <a:lnTo>
                    <a:pt x="160" y="46"/>
                  </a:lnTo>
                  <a:lnTo>
                    <a:pt x="141" y="42"/>
                  </a:lnTo>
                  <a:close/>
                  <a:moveTo>
                    <a:pt x="139" y="0"/>
                  </a:moveTo>
                  <a:lnTo>
                    <a:pt x="166" y="2"/>
                  </a:lnTo>
                  <a:lnTo>
                    <a:pt x="190" y="10"/>
                  </a:lnTo>
                  <a:lnTo>
                    <a:pt x="210" y="20"/>
                  </a:lnTo>
                  <a:lnTo>
                    <a:pt x="228" y="36"/>
                  </a:lnTo>
                  <a:lnTo>
                    <a:pt x="240" y="56"/>
                  </a:lnTo>
                  <a:lnTo>
                    <a:pt x="250" y="78"/>
                  </a:lnTo>
                  <a:lnTo>
                    <a:pt x="256" y="103"/>
                  </a:lnTo>
                  <a:lnTo>
                    <a:pt x="258" y="129"/>
                  </a:lnTo>
                  <a:lnTo>
                    <a:pt x="256" y="165"/>
                  </a:lnTo>
                  <a:lnTo>
                    <a:pt x="51" y="165"/>
                  </a:lnTo>
                  <a:lnTo>
                    <a:pt x="57" y="193"/>
                  </a:lnTo>
                  <a:lnTo>
                    <a:pt x="65" y="216"/>
                  </a:lnTo>
                  <a:lnTo>
                    <a:pt x="79" y="234"/>
                  </a:lnTo>
                  <a:lnTo>
                    <a:pt x="99" y="248"/>
                  </a:lnTo>
                  <a:lnTo>
                    <a:pt x="123" y="256"/>
                  </a:lnTo>
                  <a:lnTo>
                    <a:pt x="153" y="260"/>
                  </a:lnTo>
                  <a:lnTo>
                    <a:pt x="180" y="256"/>
                  </a:lnTo>
                  <a:lnTo>
                    <a:pt x="204" y="248"/>
                  </a:lnTo>
                  <a:lnTo>
                    <a:pt x="226" y="236"/>
                  </a:lnTo>
                  <a:lnTo>
                    <a:pt x="248" y="270"/>
                  </a:lnTo>
                  <a:lnTo>
                    <a:pt x="226" y="286"/>
                  </a:lnTo>
                  <a:lnTo>
                    <a:pt x="202" y="296"/>
                  </a:lnTo>
                  <a:lnTo>
                    <a:pt x="176" y="302"/>
                  </a:lnTo>
                  <a:lnTo>
                    <a:pt x="147" y="304"/>
                  </a:lnTo>
                  <a:lnTo>
                    <a:pt x="115" y="302"/>
                  </a:lnTo>
                  <a:lnTo>
                    <a:pt x="87" y="294"/>
                  </a:lnTo>
                  <a:lnTo>
                    <a:pt x="61" y="282"/>
                  </a:lnTo>
                  <a:lnTo>
                    <a:pt x="42" y="264"/>
                  </a:lnTo>
                  <a:lnTo>
                    <a:pt x="24" y="242"/>
                  </a:lnTo>
                  <a:lnTo>
                    <a:pt x="12" y="216"/>
                  </a:lnTo>
                  <a:lnTo>
                    <a:pt x="4" y="185"/>
                  </a:lnTo>
                  <a:lnTo>
                    <a:pt x="0" y="149"/>
                  </a:lnTo>
                  <a:lnTo>
                    <a:pt x="4" y="115"/>
                  </a:lnTo>
                  <a:lnTo>
                    <a:pt x="12" y="86"/>
                  </a:lnTo>
                  <a:lnTo>
                    <a:pt x="24" y="60"/>
                  </a:lnTo>
                  <a:lnTo>
                    <a:pt x="40" y="40"/>
                  </a:lnTo>
                  <a:lnTo>
                    <a:pt x="61" y="22"/>
                  </a:lnTo>
                  <a:lnTo>
                    <a:pt x="83"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49" name="Freeform 43">
              <a:extLst>
                <a:ext uri="{FF2B5EF4-FFF2-40B4-BE49-F238E27FC236}">
                  <a16:creationId xmlns:a16="http://schemas.microsoft.com/office/drawing/2014/main" id="{E4DBAE40-C369-4B16-B8E3-29A1AC2725A3}"/>
                </a:ext>
              </a:extLst>
            </p:cNvPr>
            <p:cNvSpPr>
              <a:spLocks/>
            </p:cNvSpPr>
            <p:nvPr userDrawn="1"/>
          </p:nvSpPr>
          <p:spPr bwMode="auto">
            <a:xfrm>
              <a:off x="2669178" y="1311864"/>
              <a:ext cx="72303" cy="128733"/>
            </a:xfrm>
            <a:custGeom>
              <a:avLst/>
              <a:gdLst>
                <a:gd name="T0" fmla="*/ 139 w 164"/>
                <a:gd name="T1" fmla="*/ 0 h 292"/>
                <a:gd name="T2" fmla="*/ 147 w 164"/>
                <a:gd name="T3" fmla="*/ 0 h 292"/>
                <a:gd name="T4" fmla="*/ 155 w 164"/>
                <a:gd name="T5" fmla="*/ 0 h 292"/>
                <a:gd name="T6" fmla="*/ 161 w 164"/>
                <a:gd name="T7" fmla="*/ 2 h 292"/>
                <a:gd name="T8" fmla="*/ 164 w 164"/>
                <a:gd name="T9" fmla="*/ 2 h 292"/>
                <a:gd name="T10" fmla="*/ 164 w 164"/>
                <a:gd name="T11" fmla="*/ 46 h 292"/>
                <a:gd name="T12" fmla="*/ 147 w 164"/>
                <a:gd name="T13" fmla="*/ 46 h 292"/>
                <a:gd name="T14" fmla="*/ 117 w 164"/>
                <a:gd name="T15" fmla="*/ 48 h 292"/>
                <a:gd name="T16" fmla="*/ 93 w 164"/>
                <a:gd name="T17" fmla="*/ 56 h 292"/>
                <a:gd name="T18" fmla="*/ 75 w 164"/>
                <a:gd name="T19" fmla="*/ 70 h 292"/>
                <a:gd name="T20" fmla="*/ 61 w 164"/>
                <a:gd name="T21" fmla="*/ 91 h 292"/>
                <a:gd name="T22" fmla="*/ 54 w 164"/>
                <a:gd name="T23" fmla="*/ 119 h 292"/>
                <a:gd name="T24" fmla="*/ 52 w 164"/>
                <a:gd name="T25" fmla="*/ 153 h 292"/>
                <a:gd name="T26" fmla="*/ 52 w 164"/>
                <a:gd name="T27" fmla="*/ 292 h 292"/>
                <a:gd name="T28" fmla="*/ 0 w 164"/>
                <a:gd name="T29" fmla="*/ 292 h 292"/>
                <a:gd name="T30" fmla="*/ 0 w 164"/>
                <a:gd name="T31" fmla="*/ 4 h 292"/>
                <a:gd name="T32" fmla="*/ 26 w 164"/>
                <a:gd name="T33" fmla="*/ 4 h 292"/>
                <a:gd name="T34" fmla="*/ 36 w 164"/>
                <a:gd name="T35" fmla="*/ 4 h 292"/>
                <a:gd name="T36" fmla="*/ 42 w 164"/>
                <a:gd name="T37" fmla="*/ 6 h 292"/>
                <a:gd name="T38" fmla="*/ 46 w 164"/>
                <a:gd name="T39" fmla="*/ 10 h 292"/>
                <a:gd name="T40" fmla="*/ 50 w 164"/>
                <a:gd name="T41" fmla="*/ 16 h 292"/>
                <a:gd name="T42" fmla="*/ 50 w 164"/>
                <a:gd name="T43" fmla="*/ 24 h 292"/>
                <a:gd name="T44" fmla="*/ 50 w 164"/>
                <a:gd name="T45" fmla="*/ 52 h 292"/>
                <a:gd name="T46" fmla="*/ 65 w 164"/>
                <a:gd name="T47" fmla="*/ 30 h 292"/>
                <a:gd name="T48" fmla="*/ 85 w 164"/>
                <a:gd name="T49" fmla="*/ 12 h 292"/>
                <a:gd name="T50" fmla="*/ 111 w 164"/>
                <a:gd name="T51" fmla="*/ 2 h 292"/>
                <a:gd name="T52" fmla="*/ 139 w 16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4" h="292">
                  <a:moveTo>
                    <a:pt x="139" y="0"/>
                  </a:moveTo>
                  <a:lnTo>
                    <a:pt x="147" y="0"/>
                  </a:lnTo>
                  <a:lnTo>
                    <a:pt x="155" y="0"/>
                  </a:lnTo>
                  <a:lnTo>
                    <a:pt x="161" y="2"/>
                  </a:lnTo>
                  <a:lnTo>
                    <a:pt x="164" y="2"/>
                  </a:lnTo>
                  <a:lnTo>
                    <a:pt x="164" y="46"/>
                  </a:lnTo>
                  <a:lnTo>
                    <a:pt x="147" y="46"/>
                  </a:lnTo>
                  <a:lnTo>
                    <a:pt x="117" y="48"/>
                  </a:lnTo>
                  <a:lnTo>
                    <a:pt x="93" y="56"/>
                  </a:lnTo>
                  <a:lnTo>
                    <a:pt x="75" y="70"/>
                  </a:lnTo>
                  <a:lnTo>
                    <a:pt x="61" y="91"/>
                  </a:lnTo>
                  <a:lnTo>
                    <a:pt x="54" y="119"/>
                  </a:lnTo>
                  <a:lnTo>
                    <a:pt x="52" y="153"/>
                  </a:lnTo>
                  <a:lnTo>
                    <a:pt x="52" y="292"/>
                  </a:lnTo>
                  <a:lnTo>
                    <a:pt x="0" y="292"/>
                  </a:lnTo>
                  <a:lnTo>
                    <a:pt x="0" y="4"/>
                  </a:lnTo>
                  <a:lnTo>
                    <a:pt x="26" y="4"/>
                  </a:lnTo>
                  <a:lnTo>
                    <a:pt x="36" y="4"/>
                  </a:lnTo>
                  <a:lnTo>
                    <a:pt x="42" y="6"/>
                  </a:lnTo>
                  <a:lnTo>
                    <a:pt x="46" y="10"/>
                  </a:lnTo>
                  <a:lnTo>
                    <a:pt x="50" y="16"/>
                  </a:lnTo>
                  <a:lnTo>
                    <a:pt x="50" y="24"/>
                  </a:lnTo>
                  <a:lnTo>
                    <a:pt x="50" y="52"/>
                  </a:lnTo>
                  <a:lnTo>
                    <a:pt x="65" y="30"/>
                  </a:lnTo>
                  <a:lnTo>
                    <a:pt x="85" y="12"/>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0" name="Freeform 44">
              <a:extLst>
                <a:ext uri="{FF2B5EF4-FFF2-40B4-BE49-F238E27FC236}">
                  <a16:creationId xmlns:a16="http://schemas.microsoft.com/office/drawing/2014/main" id="{80E45092-9914-4A67-89C1-8D62A1111523}"/>
                </a:ext>
              </a:extLst>
            </p:cNvPr>
            <p:cNvSpPr>
              <a:spLocks noEditPoints="1"/>
            </p:cNvSpPr>
            <p:nvPr userDrawn="1"/>
          </p:nvSpPr>
          <p:spPr bwMode="auto">
            <a:xfrm>
              <a:off x="2762640" y="1262484"/>
              <a:ext cx="22925" cy="178109"/>
            </a:xfrm>
            <a:custGeom>
              <a:avLst/>
              <a:gdLst>
                <a:gd name="T0" fmla="*/ 0 w 54"/>
                <a:gd name="T1" fmla="*/ 117 h 405"/>
                <a:gd name="T2" fmla="*/ 52 w 54"/>
                <a:gd name="T3" fmla="*/ 117 h 405"/>
                <a:gd name="T4" fmla="*/ 52 w 54"/>
                <a:gd name="T5" fmla="*/ 405 h 405"/>
                <a:gd name="T6" fmla="*/ 0 w 54"/>
                <a:gd name="T7" fmla="*/ 405 h 405"/>
                <a:gd name="T8" fmla="*/ 0 w 54"/>
                <a:gd name="T9" fmla="*/ 117 h 405"/>
                <a:gd name="T10" fmla="*/ 0 w 54"/>
                <a:gd name="T11" fmla="*/ 0 h 405"/>
                <a:gd name="T12" fmla="*/ 54 w 54"/>
                <a:gd name="T13" fmla="*/ 0 h 405"/>
                <a:gd name="T14" fmla="*/ 54 w 54"/>
                <a:gd name="T15" fmla="*/ 60 h 405"/>
                <a:gd name="T16" fmla="*/ 0 w 54"/>
                <a:gd name="T17" fmla="*/ 60 h 405"/>
                <a:gd name="T18" fmla="*/ 0 w 54"/>
                <a:gd name="T1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5">
                  <a:moveTo>
                    <a:pt x="0" y="117"/>
                  </a:moveTo>
                  <a:lnTo>
                    <a:pt x="52" y="117"/>
                  </a:lnTo>
                  <a:lnTo>
                    <a:pt x="52" y="405"/>
                  </a:lnTo>
                  <a:lnTo>
                    <a:pt x="0" y="405"/>
                  </a:lnTo>
                  <a:lnTo>
                    <a:pt x="0" y="117"/>
                  </a:lnTo>
                  <a:close/>
                  <a:moveTo>
                    <a:pt x="0" y="0"/>
                  </a:moveTo>
                  <a:lnTo>
                    <a:pt x="54" y="0"/>
                  </a:lnTo>
                  <a:lnTo>
                    <a:pt x="54" y="60"/>
                  </a:lnTo>
                  <a:lnTo>
                    <a:pt x="0" y="6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1" name="Freeform 45">
              <a:extLst>
                <a:ext uri="{FF2B5EF4-FFF2-40B4-BE49-F238E27FC236}">
                  <a16:creationId xmlns:a16="http://schemas.microsoft.com/office/drawing/2014/main" id="{3CD8EFBD-0321-4664-8449-27FE2410BDD8}"/>
                </a:ext>
              </a:extLst>
            </p:cNvPr>
            <p:cNvSpPr>
              <a:spLocks noEditPoints="1"/>
            </p:cNvSpPr>
            <p:nvPr userDrawn="1"/>
          </p:nvSpPr>
          <p:spPr bwMode="auto">
            <a:xfrm>
              <a:off x="2814664" y="1310097"/>
              <a:ext cx="112861" cy="134024"/>
            </a:xfrm>
            <a:custGeom>
              <a:avLst/>
              <a:gdLst>
                <a:gd name="T0" fmla="*/ 139 w 256"/>
                <a:gd name="T1" fmla="*/ 42 h 304"/>
                <a:gd name="T2" fmla="*/ 117 w 256"/>
                <a:gd name="T3" fmla="*/ 46 h 304"/>
                <a:gd name="T4" fmla="*/ 97 w 256"/>
                <a:gd name="T5" fmla="*/ 52 h 304"/>
                <a:gd name="T6" fmla="*/ 79 w 256"/>
                <a:gd name="T7" fmla="*/ 66 h 304"/>
                <a:gd name="T8" fmla="*/ 67 w 256"/>
                <a:gd name="T9" fmla="*/ 82 h 304"/>
                <a:gd name="T10" fmla="*/ 57 w 256"/>
                <a:gd name="T11" fmla="*/ 101 h 304"/>
                <a:gd name="T12" fmla="*/ 51 w 256"/>
                <a:gd name="T13" fmla="*/ 125 h 304"/>
                <a:gd name="T14" fmla="*/ 208 w 256"/>
                <a:gd name="T15" fmla="*/ 125 h 304"/>
                <a:gd name="T16" fmla="*/ 208 w 256"/>
                <a:gd name="T17" fmla="*/ 119 h 304"/>
                <a:gd name="T18" fmla="*/ 206 w 256"/>
                <a:gd name="T19" fmla="*/ 97 h 304"/>
                <a:gd name="T20" fmla="*/ 200 w 256"/>
                <a:gd name="T21" fmla="*/ 78 h 304"/>
                <a:gd name="T22" fmla="*/ 190 w 256"/>
                <a:gd name="T23" fmla="*/ 64 h 304"/>
                <a:gd name="T24" fmla="*/ 176 w 256"/>
                <a:gd name="T25" fmla="*/ 52 h 304"/>
                <a:gd name="T26" fmla="*/ 159 w 256"/>
                <a:gd name="T27" fmla="*/ 46 h 304"/>
                <a:gd name="T28" fmla="*/ 139 w 256"/>
                <a:gd name="T29" fmla="*/ 42 h 304"/>
                <a:gd name="T30" fmla="*/ 137 w 256"/>
                <a:gd name="T31" fmla="*/ 0 h 304"/>
                <a:gd name="T32" fmla="*/ 164 w 256"/>
                <a:gd name="T33" fmla="*/ 2 h 304"/>
                <a:gd name="T34" fmla="*/ 188 w 256"/>
                <a:gd name="T35" fmla="*/ 10 h 304"/>
                <a:gd name="T36" fmla="*/ 210 w 256"/>
                <a:gd name="T37" fmla="*/ 20 h 304"/>
                <a:gd name="T38" fmla="*/ 226 w 256"/>
                <a:gd name="T39" fmla="*/ 36 h 304"/>
                <a:gd name="T40" fmla="*/ 240 w 256"/>
                <a:gd name="T41" fmla="*/ 56 h 304"/>
                <a:gd name="T42" fmla="*/ 250 w 256"/>
                <a:gd name="T43" fmla="*/ 78 h 304"/>
                <a:gd name="T44" fmla="*/ 254 w 256"/>
                <a:gd name="T45" fmla="*/ 103 h 304"/>
                <a:gd name="T46" fmla="*/ 256 w 256"/>
                <a:gd name="T47" fmla="*/ 129 h 304"/>
                <a:gd name="T48" fmla="*/ 254 w 256"/>
                <a:gd name="T49" fmla="*/ 165 h 304"/>
                <a:gd name="T50" fmla="*/ 51 w 256"/>
                <a:gd name="T51" fmla="*/ 165 h 304"/>
                <a:gd name="T52" fmla="*/ 55 w 256"/>
                <a:gd name="T53" fmla="*/ 193 h 304"/>
                <a:gd name="T54" fmla="*/ 65 w 256"/>
                <a:gd name="T55" fmla="*/ 216 h 304"/>
                <a:gd name="T56" fmla="*/ 79 w 256"/>
                <a:gd name="T57" fmla="*/ 234 h 304"/>
                <a:gd name="T58" fmla="*/ 97 w 256"/>
                <a:gd name="T59" fmla="*/ 248 h 304"/>
                <a:gd name="T60" fmla="*/ 123 w 256"/>
                <a:gd name="T61" fmla="*/ 256 h 304"/>
                <a:gd name="T62" fmla="*/ 151 w 256"/>
                <a:gd name="T63" fmla="*/ 260 h 304"/>
                <a:gd name="T64" fmla="*/ 178 w 256"/>
                <a:gd name="T65" fmla="*/ 256 h 304"/>
                <a:gd name="T66" fmla="*/ 204 w 256"/>
                <a:gd name="T67" fmla="*/ 248 h 304"/>
                <a:gd name="T68" fmla="*/ 224 w 256"/>
                <a:gd name="T69" fmla="*/ 236 h 304"/>
                <a:gd name="T70" fmla="*/ 246 w 256"/>
                <a:gd name="T71" fmla="*/ 270 h 304"/>
                <a:gd name="T72" fmla="*/ 226 w 256"/>
                <a:gd name="T73" fmla="*/ 286 h 304"/>
                <a:gd name="T74" fmla="*/ 202 w 256"/>
                <a:gd name="T75" fmla="*/ 296 h 304"/>
                <a:gd name="T76" fmla="*/ 174 w 256"/>
                <a:gd name="T77" fmla="*/ 302 h 304"/>
                <a:gd name="T78" fmla="*/ 147 w 256"/>
                <a:gd name="T79" fmla="*/ 304 h 304"/>
                <a:gd name="T80" fmla="*/ 115 w 256"/>
                <a:gd name="T81" fmla="*/ 302 h 304"/>
                <a:gd name="T82" fmla="*/ 85 w 256"/>
                <a:gd name="T83" fmla="*/ 294 h 304"/>
                <a:gd name="T84" fmla="*/ 61 w 256"/>
                <a:gd name="T85" fmla="*/ 282 h 304"/>
                <a:gd name="T86" fmla="*/ 40 w 256"/>
                <a:gd name="T87" fmla="*/ 264 h 304"/>
                <a:gd name="T88" fmla="*/ 22 w 256"/>
                <a:gd name="T89" fmla="*/ 242 h 304"/>
                <a:gd name="T90" fmla="*/ 10 w 256"/>
                <a:gd name="T91" fmla="*/ 216 h 304"/>
                <a:gd name="T92" fmla="*/ 2 w 256"/>
                <a:gd name="T93" fmla="*/ 185 h 304"/>
                <a:gd name="T94" fmla="*/ 0 w 256"/>
                <a:gd name="T95" fmla="*/ 149 h 304"/>
                <a:gd name="T96" fmla="*/ 2 w 256"/>
                <a:gd name="T97" fmla="*/ 115 h 304"/>
                <a:gd name="T98" fmla="*/ 10 w 256"/>
                <a:gd name="T99" fmla="*/ 86 h 304"/>
                <a:gd name="T100" fmla="*/ 22 w 256"/>
                <a:gd name="T101" fmla="*/ 60 h 304"/>
                <a:gd name="T102" fmla="*/ 40 w 256"/>
                <a:gd name="T103" fmla="*/ 40 h 304"/>
                <a:gd name="T104" fmla="*/ 59 w 256"/>
                <a:gd name="T105" fmla="*/ 22 h 304"/>
                <a:gd name="T106" fmla="*/ 83 w 256"/>
                <a:gd name="T107" fmla="*/ 10 h 304"/>
                <a:gd name="T108" fmla="*/ 109 w 256"/>
                <a:gd name="T109" fmla="*/ 2 h 304"/>
                <a:gd name="T110" fmla="*/ 137 w 256"/>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04">
                  <a:moveTo>
                    <a:pt x="139"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9" y="46"/>
                  </a:lnTo>
                  <a:lnTo>
                    <a:pt x="139" y="42"/>
                  </a:lnTo>
                  <a:close/>
                  <a:moveTo>
                    <a:pt x="137" y="0"/>
                  </a:moveTo>
                  <a:lnTo>
                    <a:pt x="164" y="2"/>
                  </a:lnTo>
                  <a:lnTo>
                    <a:pt x="188" y="10"/>
                  </a:lnTo>
                  <a:lnTo>
                    <a:pt x="210" y="20"/>
                  </a:lnTo>
                  <a:lnTo>
                    <a:pt x="226" y="36"/>
                  </a:lnTo>
                  <a:lnTo>
                    <a:pt x="240" y="56"/>
                  </a:lnTo>
                  <a:lnTo>
                    <a:pt x="250" y="78"/>
                  </a:lnTo>
                  <a:lnTo>
                    <a:pt x="254" y="103"/>
                  </a:lnTo>
                  <a:lnTo>
                    <a:pt x="256" y="129"/>
                  </a:lnTo>
                  <a:lnTo>
                    <a:pt x="254" y="165"/>
                  </a:lnTo>
                  <a:lnTo>
                    <a:pt x="51" y="165"/>
                  </a:lnTo>
                  <a:lnTo>
                    <a:pt x="55" y="193"/>
                  </a:lnTo>
                  <a:lnTo>
                    <a:pt x="65" y="216"/>
                  </a:lnTo>
                  <a:lnTo>
                    <a:pt x="79" y="234"/>
                  </a:lnTo>
                  <a:lnTo>
                    <a:pt x="97" y="248"/>
                  </a:lnTo>
                  <a:lnTo>
                    <a:pt x="123" y="256"/>
                  </a:lnTo>
                  <a:lnTo>
                    <a:pt x="151" y="260"/>
                  </a:lnTo>
                  <a:lnTo>
                    <a:pt x="178" y="256"/>
                  </a:lnTo>
                  <a:lnTo>
                    <a:pt x="204" y="248"/>
                  </a:lnTo>
                  <a:lnTo>
                    <a:pt x="224" y="236"/>
                  </a:lnTo>
                  <a:lnTo>
                    <a:pt x="246" y="270"/>
                  </a:lnTo>
                  <a:lnTo>
                    <a:pt x="226" y="286"/>
                  </a:lnTo>
                  <a:lnTo>
                    <a:pt x="202" y="296"/>
                  </a:lnTo>
                  <a:lnTo>
                    <a:pt x="174" y="302"/>
                  </a:lnTo>
                  <a:lnTo>
                    <a:pt x="147" y="304"/>
                  </a:lnTo>
                  <a:lnTo>
                    <a:pt x="115" y="302"/>
                  </a:lnTo>
                  <a:lnTo>
                    <a:pt x="85" y="294"/>
                  </a:lnTo>
                  <a:lnTo>
                    <a:pt x="61" y="282"/>
                  </a:lnTo>
                  <a:lnTo>
                    <a:pt x="40" y="264"/>
                  </a:lnTo>
                  <a:lnTo>
                    <a:pt x="22" y="242"/>
                  </a:lnTo>
                  <a:lnTo>
                    <a:pt x="10" y="216"/>
                  </a:lnTo>
                  <a:lnTo>
                    <a:pt x="2" y="185"/>
                  </a:lnTo>
                  <a:lnTo>
                    <a:pt x="0" y="149"/>
                  </a:lnTo>
                  <a:lnTo>
                    <a:pt x="2" y="115"/>
                  </a:lnTo>
                  <a:lnTo>
                    <a:pt x="10" y="86"/>
                  </a:lnTo>
                  <a:lnTo>
                    <a:pt x="22" y="60"/>
                  </a:lnTo>
                  <a:lnTo>
                    <a:pt x="40" y="40"/>
                  </a:lnTo>
                  <a:lnTo>
                    <a:pt x="59" y="22"/>
                  </a:lnTo>
                  <a:lnTo>
                    <a:pt x="83" y="10"/>
                  </a:lnTo>
                  <a:lnTo>
                    <a:pt x="109" y="2"/>
                  </a:lnTo>
                  <a:lnTo>
                    <a:pt x="13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2" name="Freeform 46">
              <a:extLst>
                <a:ext uri="{FF2B5EF4-FFF2-40B4-BE49-F238E27FC236}">
                  <a16:creationId xmlns:a16="http://schemas.microsoft.com/office/drawing/2014/main" id="{D1B3843E-4984-4B15-8EFC-641E9DCCFF66}"/>
                </a:ext>
              </a:extLst>
            </p:cNvPr>
            <p:cNvSpPr>
              <a:spLocks/>
            </p:cNvSpPr>
            <p:nvPr userDrawn="1"/>
          </p:nvSpPr>
          <p:spPr bwMode="auto">
            <a:xfrm>
              <a:off x="2956624" y="1310097"/>
              <a:ext cx="110217" cy="130496"/>
            </a:xfrm>
            <a:custGeom>
              <a:avLst/>
              <a:gdLst>
                <a:gd name="T0" fmla="*/ 149 w 252"/>
                <a:gd name="T1" fmla="*/ 0 h 296"/>
                <a:gd name="T2" fmla="*/ 180 w 252"/>
                <a:gd name="T3" fmla="*/ 2 h 296"/>
                <a:gd name="T4" fmla="*/ 206 w 252"/>
                <a:gd name="T5" fmla="*/ 12 h 296"/>
                <a:gd name="T6" fmla="*/ 226 w 252"/>
                <a:gd name="T7" fmla="*/ 28 h 296"/>
                <a:gd name="T8" fmla="*/ 240 w 252"/>
                <a:gd name="T9" fmla="*/ 50 h 296"/>
                <a:gd name="T10" fmla="*/ 250 w 252"/>
                <a:gd name="T11" fmla="*/ 78 h 296"/>
                <a:gd name="T12" fmla="*/ 252 w 252"/>
                <a:gd name="T13" fmla="*/ 111 h 296"/>
                <a:gd name="T14" fmla="*/ 252 w 252"/>
                <a:gd name="T15" fmla="*/ 296 h 296"/>
                <a:gd name="T16" fmla="*/ 200 w 252"/>
                <a:gd name="T17" fmla="*/ 296 h 296"/>
                <a:gd name="T18" fmla="*/ 200 w 252"/>
                <a:gd name="T19" fmla="*/ 117 h 296"/>
                <a:gd name="T20" fmla="*/ 198 w 252"/>
                <a:gd name="T21" fmla="*/ 94 h 296"/>
                <a:gd name="T22" fmla="*/ 194 w 252"/>
                <a:gd name="T23" fmla="*/ 76 h 296"/>
                <a:gd name="T24" fmla="*/ 184 w 252"/>
                <a:gd name="T25" fmla="*/ 62 h 296"/>
                <a:gd name="T26" fmla="*/ 172 w 252"/>
                <a:gd name="T27" fmla="*/ 52 h 296"/>
                <a:gd name="T28" fmla="*/ 157 w 252"/>
                <a:gd name="T29" fmla="*/ 46 h 296"/>
                <a:gd name="T30" fmla="*/ 137 w 252"/>
                <a:gd name="T31" fmla="*/ 44 h 296"/>
                <a:gd name="T32" fmla="*/ 113 w 252"/>
                <a:gd name="T33" fmla="*/ 48 h 296"/>
                <a:gd name="T34" fmla="*/ 93 w 252"/>
                <a:gd name="T35" fmla="*/ 56 h 296"/>
                <a:gd name="T36" fmla="*/ 75 w 252"/>
                <a:gd name="T37" fmla="*/ 70 h 296"/>
                <a:gd name="T38" fmla="*/ 61 w 252"/>
                <a:gd name="T39" fmla="*/ 90 h 296"/>
                <a:gd name="T40" fmla="*/ 56 w 252"/>
                <a:gd name="T41" fmla="*/ 113 h 296"/>
                <a:gd name="T42" fmla="*/ 52 w 252"/>
                <a:gd name="T43" fmla="*/ 143 h 296"/>
                <a:gd name="T44" fmla="*/ 52 w 252"/>
                <a:gd name="T45" fmla="*/ 296 h 296"/>
                <a:gd name="T46" fmla="*/ 0 w 252"/>
                <a:gd name="T47" fmla="*/ 296 h 296"/>
                <a:gd name="T48" fmla="*/ 0 w 252"/>
                <a:gd name="T49" fmla="*/ 8 h 296"/>
                <a:gd name="T50" fmla="*/ 28 w 252"/>
                <a:gd name="T51" fmla="*/ 8 h 296"/>
                <a:gd name="T52" fmla="*/ 36 w 252"/>
                <a:gd name="T53" fmla="*/ 8 h 296"/>
                <a:gd name="T54" fmla="*/ 42 w 252"/>
                <a:gd name="T55" fmla="*/ 10 h 296"/>
                <a:gd name="T56" fmla="*/ 48 w 252"/>
                <a:gd name="T57" fmla="*/ 14 h 296"/>
                <a:gd name="T58" fmla="*/ 50 w 252"/>
                <a:gd name="T59" fmla="*/ 20 h 296"/>
                <a:gd name="T60" fmla="*/ 52 w 252"/>
                <a:gd name="T61" fmla="*/ 28 h 296"/>
                <a:gd name="T62" fmla="*/ 52 w 252"/>
                <a:gd name="T63" fmla="*/ 52 h 296"/>
                <a:gd name="T64" fmla="*/ 67 w 252"/>
                <a:gd name="T65" fmla="*/ 30 h 296"/>
                <a:gd name="T66" fmla="*/ 89 w 252"/>
                <a:gd name="T67" fmla="*/ 14 h 296"/>
                <a:gd name="T68" fmla="*/ 117 w 252"/>
                <a:gd name="T69" fmla="*/ 4 h 296"/>
                <a:gd name="T70" fmla="*/ 149 w 252"/>
                <a:gd name="T7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96">
                  <a:moveTo>
                    <a:pt x="149" y="0"/>
                  </a:moveTo>
                  <a:lnTo>
                    <a:pt x="180" y="2"/>
                  </a:lnTo>
                  <a:lnTo>
                    <a:pt x="206" y="12"/>
                  </a:lnTo>
                  <a:lnTo>
                    <a:pt x="226" y="28"/>
                  </a:lnTo>
                  <a:lnTo>
                    <a:pt x="240" y="50"/>
                  </a:lnTo>
                  <a:lnTo>
                    <a:pt x="250" y="78"/>
                  </a:lnTo>
                  <a:lnTo>
                    <a:pt x="252" y="111"/>
                  </a:lnTo>
                  <a:lnTo>
                    <a:pt x="252" y="296"/>
                  </a:lnTo>
                  <a:lnTo>
                    <a:pt x="200" y="296"/>
                  </a:lnTo>
                  <a:lnTo>
                    <a:pt x="200" y="117"/>
                  </a:lnTo>
                  <a:lnTo>
                    <a:pt x="198" y="94"/>
                  </a:lnTo>
                  <a:lnTo>
                    <a:pt x="194" y="76"/>
                  </a:lnTo>
                  <a:lnTo>
                    <a:pt x="184" y="62"/>
                  </a:lnTo>
                  <a:lnTo>
                    <a:pt x="172" y="52"/>
                  </a:lnTo>
                  <a:lnTo>
                    <a:pt x="157" y="46"/>
                  </a:lnTo>
                  <a:lnTo>
                    <a:pt x="137" y="44"/>
                  </a:lnTo>
                  <a:lnTo>
                    <a:pt x="113" y="48"/>
                  </a:lnTo>
                  <a:lnTo>
                    <a:pt x="93" y="56"/>
                  </a:lnTo>
                  <a:lnTo>
                    <a:pt x="75" y="70"/>
                  </a:lnTo>
                  <a:lnTo>
                    <a:pt x="61" y="90"/>
                  </a:lnTo>
                  <a:lnTo>
                    <a:pt x="56" y="113"/>
                  </a:lnTo>
                  <a:lnTo>
                    <a:pt x="52" y="143"/>
                  </a:lnTo>
                  <a:lnTo>
                    <a:pt x="52" y="296"/>
                  </a:lnTo>
                  <a:lnTo>
                    <a:pt x="0" y="296"/>
                  </a:lnTo>
                  <a:lnTo>
                    <a:pt x="0" y="8"/>
                  </a:lnTo>
                  <a:lnTo>
                    <a:pt x="28" y="8"/>
                  </a:lnTo>
                  <a:lnTo>
                    <a:pt x="36" y="8"/>
                  </a:lnTo>
                  <a:lnTo>
                    <a:pt x="42" y="10"/>
                  </a:lnTo>
                  <a:lnTo>
                    <a:pt x="48" y="14"/>
                  </a:lnTo>
                  <a:lnTo>
                    <a:pt x="50" y="20"/>
                  </a:lnTo>
                  <a:lnTo>
                    <a:pt x="52" y="28"/>
                  </a:lnTo>
                  <a:lnTo>
                    <a:pt x="52" y="52"/>
                  </a:lnTo>
                  <a:lnTo>
                    <a:pt x="67" y="30"/>
                  </a:lnTo>
                  <a:lnTo>
                    <a:pt x="89" y="14"/>
                  </a:lnTo>
                  <a:lnTo>
                    <a:pt x="117" y="4"/>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3" name="Freeform 47">
              <a:extLst>
                <a:ext uri="{FF2B5EF4-FFF2-40B4-BE49-F238E27FC236}">
                  <a16:creationId xmlns:a16="http://schemas.microsoft.com/office/drawing/2014/main" id="{53CC95FB-D00A-4EF5-AAFE-B1D486D969C2}"/>
                </a:ext>
              </a:extLst>
            </p:cNvPr>
            <p:cNvSpPr>
              <a:spLocks/>
            </p:cNvSpPr>
            <p:nvPr userDrawn="1"/>
          </p:nvSpPr>
          <p:spPr bwMode="auto">
            <a:xfrm>
              <a:off x="3093293" y="1310097"/>
              <a:ext cx="104927" cy="134024"/>
            </a:xfrm>
            <a:custGeom>
              <a:avLst/>
              <a:gdLst>
                <a:gd name="T0" fmla="*/ 149 w 238"/>
                <a:gd name="T1" fmla="*/ 0 h 304"/>
                <a:gd name="T2" fmla="*/ 182 w 238"/>
                <a:gd name="T3" fmla="*/ 2 h 304"/>
                <a:gd name="T4" fmla="*/ 212 w 238"/>
                <a:gd name="T5" fmla="*/ 12 h 304"/>
                <a:gd name="T6" fmla="*/ 236 w 238"/>
                <a:gd name="T7" fmla="*/ 28 h 304"/>
                <a:gd name="T8" fmla="*/ 216 w 238"/>
                <a:gd name="T9" fmla="*/ 64 h 304"/>
                <a:gd name="T10" fmla="*/ 204 w 238"/>
                <a:gd name="T11" fmla="*/ 56 h 304"/>
                <a:gd name="T12" fmla="*/ 188 w 238"/>
                <a:gd name="T13" fmla="*/ 50 h 304"/>
                <a:gd name="T14" fmla="*/ 173 w 238"/>
                <a:gd name="T15" fmla="*/ 46 h 304"/>
                <a:gd name="T16" fmla="*/ 151 w 238"/>
                <a:gd name="T17" fmla="*/ 44 h 304"/>
                <a:gd name="T18" fmla="*/ 123 w 238"/>
                <a:gd name="T19" fmla="*/ 48 h 304"/>
                <a:gd name="T20" fmla="*/ 99 w 238"/>
                <a:gd name="T21" fmla="*/ 56 h 304"/>
                <a:gd name="T22" fmla="*/ 79 w 238"/>
                <a:gd name="T23" fmla="*/ 72 h 304"/>
                <a:gd name="T24" fmla="*/ 66 w 238"/>
                <a:gd name="T25" fmla="*/ 94 h 304"/>
                <a:gd name="T26" fmla="*/ 58 w 238"/>
                <a:gd name="T27" fmla="*/ 119 h 304"/>
                <a:gd name="T28" fmla="*/ 54 w 238"/>
                <a:gd name="T29" fmla="*/ 151 h 304"/>
                <a:gd name="T30" fmla="*/ 58 w 238"/>
                <a:gd name="T31" fmla="*/ 183 h 304"/>
                <a:gd name="T32" fmla="*/ 66 w 238"/>
                <a:gd name="T33" fmla="*/ 210 h 304"/>
                <a:gd name="T34" fmla="*/ 79 w 238"/>
                <a:gd name="T35" fmla="*/ 232 h 304"/>
                <a:gd name="T36" fmla="*/ 99 w 238"/>
                <a:gd name="T37" fmla="*/ 246 h 304"/>
                <a:gd name="T38" fmla="*/ 123 w 238"/>
                <a:gd name="T39" fmla="*/ 256 h 304"/>
                <a:gd name="T40" fmla="*/ 151 w 238"/>
                <a:gd name="T41" fmla="*/ 260 h 304"/>
                <a:gd name="T42" fmla="*/ 186 w 238"/>
                <a:gd name="T43" fmla="*/ 254 h 304"/>
                <a:gd name="T44" fmla="*/ 202 w 238"/>
                <a:gd name="T45" fmla="*/ 248 h 304"/>
                <a:gd name="T46" fmla="*/ 218 w 238"/>
                <a:gd name="T47" fmla="*/ 240 h 304"/>
                <a:gd name="T48" fmla="*/ 238 w 238"/>
                <a:gd name="T49" fmla="*/ 276 h 304"/>
                <a:gd name="T50" fmla="*/ 212 w 238"/>
                <a:gd name="T51" fmla="*/ 292 h 304"/>
                <a:gd name="T52" fmla="*/ 182 w 238"/>
                <a:gd name="T53" fmla="*/ 300 h 304"/>
                <a:gd name="T54" fmla="*/ 147 w 238"/>
                <a:gd name="T55" fmla="*/ 304 h 304"/>
                <a:gd name="T56" fmla="*/ 111 w 238"/>
                <a:gd name="T57" fmla="*/ 302 h 304"/>
                <a:gd name="T58" fmla="*/ 81 w 238"/>
                <a:gd name="T59" fmla="*/ 292 h 304"/>
                <a:gd name="T60" fmla="*/ 58 w 238"/>
                <a:gd name="T61" fmla="*/ 278 h 304"/>
                <a:gd name="T62" fmla="*/ 36 w 238"/>
                <a:gd name="T63" fmla="*/ 260 h 304"/>
                <a:gd name="T64" fmla="*/ 20 w 238"/>
                <a:gd name="T65" fmla="*/ 238 h 304"/>
                <a:gd name="T66" fmla="*/ 10 w 238"/>
                <a:gd name="T67" fmla="*/ 214 h 304"/>
                <a:gd name="T68" fmla="*/ 2 w 238"/>
                <a:gd name="T69" fmla="*/ 185 h 304"/>
                <a:gd name="T70" fmla="*/ 0 w 238"/>
                <a:gd name="T71" fmla="*/ 153 h 304"/>
                <a:gd name="T72" fmla="*/ 4 w 238"/>
                <a:gd name="T73" fmla="*/ 121 h 304"/>
                <a:gd name="T74" fmla="*/ 10 w 238"/>
                <a:gd name="T75" fmla="*/ 90 h 304"/>
                <a:gd name="T76" fmla="*/ 24 w 238"/>
                <a:gd name="T77" fmla="*/ 64 h 304"/>
                <a:gd name="T78" fmla="*/ 40 w 238"/>
                <a:gd name="T79" fmla="*/ 42 h 304"/>
                <a:gd name="T80" fmla="*/ 62 w 238"/>
                <a:gd name="T81" fmla="*/ 24 h 304"/>
                <a:gd name="T82" fmla="*/ 87 w 238"/>
                <a:gd name="T83" fmla="*/ 10 h 304"/>
                <a:gd name="T84" fmla="*/ 115 w 238"/>
                <a:gd name="T85" fmla="*/ 2 h 304"/>
                <a:gd name="T86" fmla="*/ 149 w 238"/>
                <a:gd name="T8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304">
                  <a:moveTo>
                    <a:pt x="149" y="0"/>
                  </a:moveTo>
                  <a:lnTo>
                    <a:pt x="182" y="2"/>
                  </a:lnTo>
                  <a:lnTo>
                    <a:pt x="212" y="12"/>
                  </a:lnTo>
                  <a:lnTo>
                    <a:pt x="236" y="28"/>
                  </a:lnTo>
                  <a:lnTo>
                    <a:pt x="216" y="64"/>
                  </a:lnTo>
                  <a:lnTo>
                    <a:pt x="204" y="56"/>
                  </a:lnTo>
                  <a:lnTo>
                    <a:pt x="188" y="50"/>
                  </a:lnTo>
                  <a:lnTo>
                    <a:pt x="173" y="46"/>
                  </a:lnTo>
                  <a:lnTo>
                    <a:pt x="151" y="44"/>
                  </a:lnTo>
                  <a:lnTo>
                    <a:pt x="123" y="48"/>
                  </a:lnTo>
                  <a:lnTo>
                    <a:pt x="99" y="56"/>
                  </a:lnTo>
                  <a:lnTo>
                    <a:pt x="79" y="72"/>
                  </a:lnTo>
                  <a:lnTo>
                    <a:pt x="66" y="94"/>
                  </a:lnTo>
                  <a:lnTo>
                    <a:pt x="58" y="119"/>
                  </a:lnTo>
                  <a:lnTo>
                    <a:pt x="54" y="151"/>
                  </a:lnTo>
                  <a:lnTo>
                    <a:pt x="58" y="183"/>
                  </a:lnTo>
                  <a:lnTo>
                    <a:pt x="66" y="210"/>
                  </a:lnTo>
                  <a:lnTo>
                    <a:pt x="79" y="232"/>
                  </a:lnTo>
                  <a:lnTo>
                    <a:pt x="99" y="246"/>
                  </a:lnTo>
                  <a:lnTo>
                    <a:pt x="123" y="256"/>
                  </a:lnTo>
                  <a:lnTo>
                    <a:pt x="151" y="260"/>
                  </a:lnTo>
                  <a:lnTo>
                    <a:pt x="186" y="254"/>
                  </a:lnTo>
                  <a:lnTo>
                    <a:pt x="202" y="248"/>
                  </a:lnTo>
                  <a:lnTo>
                    <a:pt x="218" y="240"/>
                  </a:lnTo>
                  <a:lnTo>
                    <a:pt x="238" y="276"/>
                  </a:lnTo>
                  <a:lnTo>
                    <a:pt x="212" y="292"/>
                  </a:lnTo>
                  <a:lnTo>
                    <a:pt x="182" y="300"/>
                  </a:lnTo>
                  <a:lnTo>
                    <a:pt x="147" y="304"/>
                  </a:lnTo>
                  <a:lnTo>
                    <a:pt x="111" y="302"/>
                  </a:lnTo>
                  <a:lnTo>
                    <a:pt x="81" y="292"/>
                  </a:lnTo>
                  <a:lnTo>
                    <a:pt x="58" y="278"/>
                  </a:lnTo>
                  <a:lnTo>
                    <a:pt x="36" y="260"/>
                  </a:lnTo>
                  <a:lnTo>
                    <a:pt x="20" y="238"/>
                  </a:lnTo>
                  <a:lnTo>
                    <a:pt x="10" y="214"/>
                  </a:lnTo>
                  <a:lnTo>
                    <a:pt x="2" y="185"/>
                  </a:lnTo>
                  <a:lnTo>
                    <a:pt x="0" y="153"/>
                  </a:lnTo>
                  <a:lnTo>
                    <a:pt x="4" y="121"/>
                  </a:lnTo>
                  <a:lnTo>
                    <a:pt x="10" y="90"/>
                  </a:lnTo>
                  <a:lnTo>
                    <a:pt x="24" y="64"/>
                  </a:lnTo>
                  <a:lnTo>
                    <a:pt x="40" y="42"/>
                  </a:lnTo>
                  <a:lnTo>
                    <a:pt x="62" y="24"/>
                  </a:lnTo>
                  <a:lnTo>
                    <a:pt x="87" y="10"/>
                  </a:lnTo>
                  <a:lnTo>
                    <a:pt x="115" y="2"/>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4" name="Freeform 48">
              <a:extLst>
                <a:ext uri="{FF2B5EF4-FFF2-40B4-BE49-F238E27FC236}">
                  <a16:creationId xmlns:a16="http://schemas.microsoft.com/office/drawing/2014/main" id="{9C170F9B-51B1-4D9B-A500-E770FBA3D686}"/>
                </a:ext>
              </a:extLst>
            </p:cNvPr>
            <p:cNvSpPr>
              <a:spLocks noEditPoints="1"/>
            </p:cNvSpPr>
            <p:nvPr userDrawn="1"/>
          </p:nvSpPr>
          <p:spPr bwMode="auto">
            <a:xfrm>
              <a:off x="3209680" y="1310097"/>
              <a:ext cx="112861" cy="134024"/>
            </a:xfrm>
            <a:custGeom>
              <a:avLst/>
              <a:gdLst>
                <a:gd name="T0" fmla="*/ 138 w 255"/>
                <a:gd name="T1" fmla="*/ 42 h 304"/>
                <a:gd name="T2" fmla="*/ 117 w 255"/>
                <a:gd name="T3" fmla="*/ 46 h 304"/>
                <a:gd name="T4" fmla="*/ 97 w 255"/>
                <a:gd name="T5" fmla="*/ 52 h 304"/>
                <a:gd name="T6" fmla="*/ 79 w 255"/>
                <a:gd name="T7" fmla="*/ 66 h 304"/>
                <a:gd name="T8" fmla="*/ 67 w 255"/>
                <a:gd name="T9" fmla="*/ 82 h 304"/>
                <a:gd name="T10" fmla="*/ 57 w 255"/>
                <a:gd name="T11" fmla="*/ 101 h 304"/>
                <a:gd name="T12" fmla="*/ 51 w 255"/>
                <a:gd name="T13" fmla="*/ 125 h 304"/>
                <a:gd name="T14" fmla="*/ 208 w 255"/>
                <a:gd name="T15" fmla="*/ 125 h 304"/>
                <a:gd name="T16" fmla="*/ 208 w 255"/>
                <a:gd name="T17" fmla="*/ 119 h 304"/>
                <a:gd name="T18" fmla="*/ 206 w 255"/>
                <a:gd name="T19" fmla="*/ 97 h 304"/>
                <a:gd name="T20" fmla="*/ 200 w 255"/>
                <a:gd name="T21" fmla="*/ 78 h 304"/>
                <a:gd name="T22" fmla="*/ 190 w 255"/>
                <a:gd name="T23" fmla="*/ 64 h 304"/>
                <a:gd name="T24" fmla="*/ 176 w 255"/>
                <a:gd name="T25" fmla="*/ 52 h 304"/>
                <a:gd name="T26" fmla="*/ 158 w 255"/>
                <a:gd name="T27" fmla="*/ 46 h 304"/>
                <a:gd name="T28" fmla="*/ 138 w 255"/>
                <a:gd name="T29" fmla="*/ 42 h 304"/>
                <a:gd name="T30" fmla="*/ 136 w 255"/>
                <a:gd name="T31" fmla="*/ 0 h 304"/>
                <a:gd name="T32" fmla="*/ 164 w 255"/>
                <a:gd name="T33" fmla="*/ 2 h 304"/>
                <a:gd name="T34" fmla="*/ 188 w 255"/>
                <a:gd name="T35" fmla="*/ 10 h 304"/>
                <a:gd name="T36" fmla="*/ 210 w 255"/>
                <a:gd name="T37" fmla="*/ 20 h 304"/>
                <a:gd name="T38" fmla="*/ 226 w 255"/>
                <a:gd name="T39" fmla="*/ 36 h 304"/>
                <a:gd name="T40" fmla="*/ 240 w 255"/>
                <a:gd name="T41" fmla="*/ 56 h 304"/>
                <a:gd name="T42" fmla="*/ 249 w 255"/>
                <a:gd name="T43" fmla="*/ 78 h 304"/>
                <a:gd name="T44" fmla="*/ 253 w 255"/>
                <a:gd name="T45" fmla="*/ 103 h 304"/>
                <a:gd name="T46" fmla="*/ 255 w 255"/>
                <a:gd name="T47" fmla="*/ 129 h 304"/>
                <a:gd name="T48" fmla="*/ 253 w 255"/>
                <a:gd name="T49" fmla="*/ 165 h 304"/>
                <a:gd name="T50" fmla="*/ 51 w 255"/>
                <a:gd name="T51" fmla="*/ 165 h 304"/>
                <a:gd name="T52" fmla="*/ 55 w 255"/>
                <a:gd name="T53" fmla="*/ 193 h 304"/>
                <a:gd name="T54" fmla="*/ 65 w 255"/>
                <a:gd name="T55" fmla="*/ 216 h 304"/>
                <a:gd name="T56" fmla="*/ 79 w 255"/>
                <a:gd name="T57" fmla="*/ 234 h 304"/>
                <a:gd name="T58" fmla="*/ 97 w 255"/>
                <a:gd name="T59" fmla="*/ 248 h 304"/>
                <a:gd name="T60" fmla="*/ 123 w 255"/>
                <a:gd name="T61" fmla="*/ 256 h 304"/>
                <a:gd name="T62" fmla="*/ 150 w 255"/>
                <a:gd name="T63" fmla="*/ 260 h 304"/>
                <a:gd name="T64" fmla="*/ 178 w 255"/>
                <a:gd name="T65" fmla="*/ 256 h 304"/>
                <a:gd name="T66" fmla="*/ 204 w 255"/>
                <a:gd name="T67" fmla="*/ 248 h 304"/>
                <a:gd name="T68" fmla="*/ 224 w 255"/>
                <a:gd name="T69" fmla="*/ 236 h 304"/>
                <a:gd name="T70" fmla="*/ 245 w 255"/>
                <a:gd name="T71" fmla="*/ 270 h 304"/>
                <a:gd name="T72" fmla="*/ 226 w 255"/>
                <a:gd name="T73" fmla="*/ 286 h 304"/>
                <a:gd name="T74" fmla="*/ 202 w 255"/>
                <a:gd name="T75" fmla="*/ 296 h 304"/>
                <a:gd name="T76" fmla="*/ 174 w 255"/>
                <a:gd name="T77" fmla="*/ 302 h 304"/>
                <a:gd name="T78" fmla="*/ 146 w 255"/>
                <a:gd name="T79" fmla="*/ 304 h 304"/>
                <a:gd name="T80" fmla="*/ 115 w 255"/>
                <a:gd name="T81" fmla="*/ 302 h 304"/>
                <a:gd name="T82" fmla="*/ 85 w 255"/>
                <a:gd name="T83" fmla="*/ 294 h 304"/>
                <a:gd name="T84" fmla="*/ 59 w 255"/>
                <a:gd name="T85" fmla="*/ 282 h 304"/>
                <a:gd name="T86" fmla="*/ 39 w 255"/>
                <a:gd name="T87" fmla="*/ 264 h 304"/>
                <a:gd name="T88" fmla="*/ 22 w 255"/>
                <a:gd name="T89" fmla="*/ 242 h 304"/>
                <a:gd name="T90" fmla="*/ 10 w 255"/>
                <a:gd name="T91" fmla="*/ 216 h 304"/>
                <a:gd name="T92" fmla="*/ 2 w 255"/>
                <a:gd name="T93" fmla="*/ 185 h 304"/>
                <a:gd name="T94" fmla="*/ 0 w 255"/>
                <a:gd name="T95" fmla="*/ 149 h 304"/>
                <a:gd name="T96" fmla="*/ 2 w 255"/>
                <a:gd name="T97" fmla="*/ 115 h 304"/>
                <a:gd name="T98" fmla="*/ 10 w 255"/>
                <a:gd name="T99" fmla="*/ 86 h 304"/>
                <a:gd name="T100" fmla="*/ 22 w 255"/>
                <a:gd name="T101" fmla="*/ 60 h 304"/>
                <a:gd name="T102" fmla="*/ 39 w 255"/>
                <a:gd name="T103" fmla="*/ 40 h 304"/>
                <a:gd name="T104" fmla="*/ 59 w 255"/>
                <a:gd name="T105" fmla="*/ 22 h 304"/>
                <a:gd name="T106" fmla="*/ 83 w 255"/>
                <a:gd name="T107" fmla="*/ 10 h 304"/>
                <a:gd name="T108" fmla="*/ 109 w 255"/>
                <a:gd name="T109" fmla="*/ 2 h 304"/>
                <a:gd name="T110" fmla="*/ 136 w 255"/>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304">
                  <a:moveTo>
                    <a:pt x="138"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8" y="46"/>
                  </a:lnTo>
                  <a:lnTo>
                    <a:pt x="138" y="42"/>
                  </a:lnTo>
                  <a:close/>
                  <a:moveTo>
                    <a:pt x="136" y="0"/>
                  </a:moveTo>
                  <a:lnTo>
                    <a:pt x="164" y="2"/>
                  </a:lnTo>
                  <a:lnTo>
                    <a:pt x="188" y="10"/>
                  </a:lnTo>
                  <a:lnTo>
                    <a:pt x="210" y="20"/>
                  </a:lnTo>
                  <a:lnTo>
                    <a:pt x="226" y="36"/>
                  </a:lnTo>
                  <a:lnTo>
                    <a:pt x="240" y="56"/>
                  </a:lnTo>
                  <a:lnTo>
                    <a:pt x="249" y="78"/>
                  </a:lnTo>
                  <a:lnTo>
                    <a:pt x="253" y="103"/>
                  </a:lnTo>
                  <a:lnTo>
                    <a:pt x="255" y="129"/>
                  </a:lnTo>
                  <a:lnTo>
                    <a:pt x="253" y="165"/>
                  </a:lnTo>
                  <a:lnTo>
                    <a:pt x="51" y="165"/>
                  </a:lnTo>
                  <a:lnTo>
                    <a:pt x="55" y="193"/>
                  </a:lnTo>
                  <a:lnTo>
                    <a:pt x="65" y="216"/>
                  </a:lnTo>
                  <a:lnTo>
                    <a:pt x="79" y="234"/>
                  </a:lnTo>
                  <a:lnTo>
                    <a:pt x="97" y="248"/>
                  </a:lnTo>
                  <a:lnTo>
                    <a:pt x="123" y="256"/>
                  </a:lnTo>
                  <a:lnTo>
                    <a:pt x="150" y="260"/>
                  </a:lnTo>
                  <a:lnTo>
                    <a:pt x="178" y="256"/>
                  </a:lnTo>
                  <a:lnTo>
                    <a:pt x="204" y="248"/>
                  </a:lnTo>
                  <a:lnTo>
                    <a:pt x="224" y="236"/>
                  </a:lnTo>
                  <a:lnTo>
                    <a:pt x="245" y="270"/>
                  </a:lnTo>
                  <a:lnTo>
                    <a:pt x="226" y="286"/>
                  </a:lnTo>
                  <a:lnTo>
                    <a:pt x="202" y="296"/>
                  </a:lnTo>
                  <a:lnTo>
                    <a:pt x="174" y="302"/>
                  </a:lnTo>
                  <a:lnTo>
                    <a:pt x="146" y="304"/>
                  </a:lnTo>
                  <a:lnTo>
                    <a:pt x="115" y="302"/>
                  </a:lnTo>
                  <a:lnTo>
                    <a:pt x="85" y="294"/>
                  </a:lnTo>
                  <a:lnTo>
                    <a:pt x="59" y="282"/>
                  </a:lnTo>
                  <a:lnTo>
                    <a:pt x="39" y="264"/>
                  </a:lnTo>
                  <a:lnTo>
                    <a:pt x="22" y="242"/>
                  </a:lnTo>
                  <a:lnTo>
                    <a:pt x="10" y="216"/>
                  </a:lnTo>
                  <a:lnTo>
                    <a:pt x="2" y="185"/>
                  </a:lnTo>
                  <a:lnTo>
                    <a:pt x="0" y="149"/>
                  </a:lnTo>
                  <a:lnTo>
                    <a:pt x="2" y="115"/>
                  </a:lnTo>
                  <a:lnTo>
                    <a:pt x="10" y="86"/>
                  </a:lnTo>
                  <a:lnTo>
                    <a:pt x="22" y="60"/>
                  </a:lnTo>
                  <a:lnTo>
                    <a:pt x="39" y="40"/>
                  </a:lnTo>
                  <a:lnTo>
                    <a:pt x="59" y="22"/>
                  </a:lnTo>
                  <a:lnTo>
                    <a:pt x="83" y="10"/>
                  </a:lnTo>
                  <a:lnTo>
                    <a:pt x="109" y="2"/>
                  </a:lnTo>
                  <a:lnTo>
                    <a:pt x="13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5" name="Freeform 49">
              <a:extLst>
                <a:ext uri="{FF2B5EF4-FFF2-40B4-BE49-F238E27FC236}">
                  <a16:creationId xmlns:a16="http://schemas.microsoft.com/office/drawing/2014/main" id="{75FB4D62-CA54-4ECC-951F-CADB6B48EE64}"/>
                </a:ext>
              </a:extLst>
            </p:cNvPr>
            <p:cNvSpPr>
              <a:spLocks/>
            </p:cNvSpPr>
            <p:nvPr userDrawn="1"/>
          </p:nvSpPr>
          <p:spPr bwMode="auto">
            <a:xfrm>
              <a:off x="1985837" y="1577266"/>
              <a:ext cx="182519" cy="126969"/>
            </a:xfrm>
            <a:custGeom>
              <a:avLst/>
              <a:gdLst>
                <a:gd name="T0" fmla="*/ 0 w 414"/>
                <a:gd name="T1" fmla="*/ 0 h 287"/>
                <a:gd name="T2" fmla="*/ 56 w 414"/>
                <a:gd name="T3" fmla="*/ 0 h 287"/>
                <a:gd name="T4" fmla="*/ 117 w 414"/>
                <a:gd name="T5" fmla="*/ 232 h 287"/>
                <a:gd name="T6" fmla="*/ 185 w 414"/>
                <a:gd name="T7" fmla="*/ 22 h 287"/>
                <a:gd name="T8" fmla="*/ 236 w 414"/>
                <a:gd name="T9" fmla="*/ 22 h 287"/>
                <a:gd name="T10" fmla="*/ 301 w 414"/>
                <a:gd name="T11" fmla="*/ 236 h 287"/>
                <a:gd name="T12" fmla="*/ 363 w 414"/>
                <a:gd name="T13" fmla="*/ 0 h 287"/>
                <a:gd name="T14" fmla="*/ 414 w 414"/>
                <a:gd name="T15" fmla="*/ 0 h 287"/>
                <a:gd name="T16" fmla="*/ 325 w 414"/>
                <a:gd name="T17" fmla="*/ 287 h 287"/>
                <a:gd name="T18" fmla="*/ 274 w 414"/>
                <a:gd name="T19" fmla="*/ 287 h 287"/>
                <a:gd name="T20" fmla="*/ 208 w 414"/>
                <a:gd name="T21" fmla="*/ 81 h 287"/>
                <a:gd name="T22" fmla="*/ 141 w 414"/>
                <a:gd name="T23" fmla="*/ 287 h 287"/>
                <a:gd name="T24" fmla="*/ 89 w 414"/>
                <a:gd name="T25" fmla="*/ 287 h 287"/>
                <a:gd name="T26" fmla="*/ 0 w 414"/>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4" h="287">
                  <a:moveTo>
                    <a:pt x="0" y="0"/>
                  </a:moveTo>
                  <a:lnTo>
                    <a:pt x="56" y="0"/>
                  </a:lnTo>
                  <a:lnTo>
                    <a:pt x="117" y="232"/>
                  </a:lnTo>
                  <a:lnTo>
                    <a:pt x="185" y="22"/>
                  </a:lnTo>
                  <a:lnTo>
                    <a:pt x="236" y="22"/>
                  </a:lnTo>
                  <a:lnTo>
                    <a:pt x="301" y="236"/>
                  </a:lnTo>
                  <a:lnTo>
                    <a:pt x="363" y="0"/>
                  </a:lnTo>
                  <a:lnTo>
                    <a:pt x="414" y="0"/>
                  </a:lnTo>
                  <a:lnTo>
                    <a:pt x="325" y="287"/>
                  </a:lnTo>
                  <a:lnTo>
                    <a:pt x="274" y="287"/>
                  </a:lnTo>
                  <a:lnTo>
                    <a:pt x="208" y="81"/>
                  </a:lnTo>
                  <a:lnTo>
                    <a:pt x="141" y="287"/>
                  </a:lnTo>
                  <a:lnTo>
                    <a:pt x="89" y="28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6" name="Freeform 50">
              <a:extLst>
                <a:ext uri="{FF2B5EF4-FFF2-40B4-BE49-F238E27FC236}">
                  <a16:creationId xmlns:a16="http://schemas.microsoft.com/office/drawing/2014/main" id="{4050A26D-9A7A-473B-AC94-A39958C45E0B}"/>
                </a:ext>
              </a:extLst>
            </p:cNvPr>
            <p:cNvSpPr>
              <a:spLocks/>
            </p:cNvSpPr>
            <p:nvPr userDrawn="1"/>
          </p:nvSpPr>
          <p:spPr bwMode="auto">
            <a:xfrm>
              <a:off x="2188636" y="1522596"/>
              <a:ext cx="110217" cy="181637"/>
            </a:xfrm>
            <a:custGeom>
              <a:avLst/>
              <a:gdLst>
                <a:gd name="T0" fmla="*/ 0 w 252"/>
                <a:gd name="T1" fmla="*/ 0 h 412"/>
                <a:gd name="T2" fmla="*/ 52 w 252"/>
                <a:gd name="T3" fmla="*/ 0 h 412"/>
                <a:gd name="T4" fmla="*/ 52 w 252"/>
                <a:gd name="T5" fmla="*/ 166 h 412"/>
                <a:gd name="T6" fmla="*/ 67 w 252"/>
                <a:gd name="T7" fmla="*/ 147 h 412"/>
                <a:gd name="T8" fmla="*/ 89 w 252"/>
                <a:gd name="T9" fmla="*/ 131 h 412"/>
                <a:gd name="T10" fmla="*/ 117 w 252"/>
                <a:gd name="T11" fmla="*/ 121 h 412"/>
                <a:gd name="T12" fmla="*/ 149 w 252"/>
                <a:gd name="T13" fmla="*/ 117 h 412"/>
                <a:gd name="T14" fmla="*/ 178 w 252"/>
                <a:gd name="T15" fmla="*/ 121 h 412"/>
                <a:gd name="T16" fmla="*/ 204 w 252"/>
                <a:gd name="T17" fmla="*/ 129 h 412"/>
                <a:gd name="T18" fmla="*/ 224 w 252"/>
                <a:gd name="T19" fmla="*/ 145 h 412"/>
                <a:gd name="T20" fmla="*/ 240 w 252"/>
                <a:gd name="T21" fmla="*/ 166 h 412"/>
                <a:gd name="T22" fmla="*/ 248 w 252"/>
                <a:gd name="T23" fmla="*/ 194 h 412"/>
                <a:gd name="T24" fmla="*/ 252 w 252"/>
                <a:gd name="T25" fmla="*/ 228 h 412"/>
                <a:gd name="T26" fmla="*/ 252 w 252"/>
                <a:gd name="T27" fmla="*/ 412 h 412"/>
                <a:gd name="T28" fmla="*/ 200 w 252"/>
                <a:gd name="T29" fmla="*/ 412 h 412"/>
                <a:gd name="T30" fmla="*/ 200 w 252"/>
                <a:gd name="T31" fmla="*/ 234 h 412"/>
                <a:gd name="T32" fmla="*/ 198 w 252"/>
                <a:gd name="T33" fmla="*/ 210 h 412"/>
                <a:gd name="T34" fmla="*/ 192 w 252"/>
                <a:gd name="T35" fmla="*/ 192 h 412"/>
                <a:gd name="T36" fmla="*/ 184 w 252"/>
                <a:gd name="T37" fmla="*/ 178 h 412"/>
                <a:gd name="T38" fmla="*/ 172 w 252"/>
                <a:gd name="T39" fmla="*/ 168 h 412"/>
                <a:gd name="T40" fmla="*/ 157 w 252"/>
                <a:gd name="T41" fmla="*/ 162 h 412"/>
                <a:gd name="T42" fmla="*/ 137 w 252"/>
                <a:gd name="T43" fmla="*/ 160 h 412"/>
                <a:gd name="T44" fmla="*/ 113 w 252"/>
                <a:gd name="T45" fmla="*/ 164 h 412"/>
                <a:gd name="T46" fmla="*/ 91 w 252"/>
                <a:gd name="T47" fmla="*/ 172 h 412"/>
                <a:gd name="T48" fmla="*/ 75 w 252"/>
                <a:gd name="T49" fmla="*/ 186 h 412"/>
                <a:gd name="T50" fmla="*/ 61 w 252"/>
                <a:gd name="T51" fmla="*/ 206 h 412"/>
                <a:gd name="T52" fmla="*/ 54 w 252"/>
                <a:gd name="T53" fmla="*/ 230 h 412"/>
                <a:gd name="T54" fmla="*/ 52 w 252"/>
                <a:gd name="T55" fmla="*/ 259 h 412"/>
                <a:gd name="T56" fmla="*/ 52 w 252"/>
                <a:gd name="T57" fmla="*/ 412 h 412"/>
                <a:gd name="T58" fmla="*/ 0 w 252"/>
                <a:gd name="T59" fmla="*/ 412 h 412"/>
                <a:gd name="T60" fmla="*/ 0 w 252"/>
                <a:gd name="T61"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2" h="412">
                  <a:moveTo>
                    <a:pt x="0" y="0"/>
                  </a:moveTo>
                  <a:lnTo>
                    <a:pt x="52" y="0"/>
                  </a:lnTo>
                  <a:lnTo>
                    <a:pt x="52" y="166"/>
                  </a:lnTo>
                  <a:lnTo>
                    <a:pt x="67" y="147"/>
                  </a:lnTo>
                  <a:lnTo>
                    <a:pt x="89" y="131"/>
                  </a:lnTo>
                  <a:lnTo>
                    <a:pt x="117" y="121"/>
                  </a:lnTo>
                  <a:lnTo>
                    <a:pt x="149" y="117"/>
                  </a:lnTo>
                  <a:lnTo>
                    <a:pt x="178" y="121"/>
                  </a:lnTo>
                  <a:lnTo>
                    <a:pt x="204" y="129"/>
                  </a:lnTo>
                  <a:lnTo>
                    <a:pt x="224" y="145"/>
                  </a:lnTo>
                  <a:lnTo>
                    <a:pt x="240" y="166"/>
                  </a:lnTo>
                  <a:lnTo>
                    <a:pt x="248" y="194"/>
                  </a:lnTo>
                  <a:lnTo>
                    <a:pt x="252" y="228"/>
                  </a:lnTo>
                  <a:lnTo>
                    <a:pt x="252" y="412"/>
                  </a:lnTo>
                  <a:lnTo>
                    <a:pt x="200" y="412"/>
                  </a:lnTo>
                  <a:lnTo>
                    <a:pt x="200" y="234"/>
                  </a:lnTo>
                  <a:lnTo>
                    <a:pt x="198" y="210"/>
                  </a:lnTo>
                  <a:lnTo>
                    <a:pt x="192" y="192"/>
                  </a:lnTo>
                  <a:lnTo>
                    <a:pt x="184" y="178"/>
                  </a:lnTo>
                  <a:lnTo>
                    <a:pt x="172" y="168"/>
                  </a:lnTo>
                  <a:lnTo>
                    <a:pt x="157" y="162"/>
                  </a:lnTo>
                  <a:lnTo>
                    <a:pt x="137" y="160"/>
                  </a:lnTo>
                  <a:lnTo>
                    <a:pt x="113" y="164"/>
                  </a:lnTo>
                  <a:lnTo>
                    <a:pt x="91" y="172"/>
                  </a:lnTo>
                  <a:lnTo>
                    <a:pt x="75" y="186"/>
                  </a:lnTo>
                  <a:lnTo>
                    <a:pt x="61" y="206"/>
                  </a:lnTo>
                  <a:lnTo>
                    <a:pt x="54" y="230"/>
                  </a:lnTo>
                  <a:lnTo>
                    <a:pt x="52" y="259"/>
                  </a:lnTo>
                  <a:lnTo>
                    <a:pt x="52" y="412"/>
                  </a:lnTo>
                  <a:lnTo>
                    <a:pt x="0" y="412"/>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7" name="Freeform 51">
              <a:extLst>
                <a:ext uri="{FF2B5EF4-FFF2-40B4-BE49-F238E27FC236}">
                  <a16:creationId xmlns:a16="http://schemas.microsoft.com/office/drawing/2014/main" id="{AA51050A-5E52-4F5C-B133-C92814F41164}"/>
                </a:ext>
              </a:extLst>
            </p:cNvPr>
            <p:cNvSpPr>
              <a:spLocks noEditPoints="1"/>
            </p:cNvSpPr>
            <p:nvPr userDrawn="1"/>
          </p:nvSpPr>
          <p:spPr bwMode="auto">
            <a:xfrm>
              <a:off x="2325304" y="1573735"/>
              <a:ext cx="114625" cy="134024"/>
            </a:xfrm>
            <a:custGeom>
              <a:avLst/>
              <a:gdLst>
                <a:gd name="T0" fmla="*/ 89 w 260"/>
                <a:gd name="T1" fmla="*/ 164 h 303"/>
                <a:gd name="T2" fmla="*/ 54 w 260"/>
                <a:gd name="T3" fmla="*/ 190 h 303"/>
                <a:gd name="T4" fmla="*/ 54 w 260"/>
                <a:gd name="T5" fmla="*/ 232 h 303"/>
                <a:gd name="T6" fmla="*/ 79 w 260"/>
                <a:gd name="T7" fmla="*/ 255 h 303"/>
                <a:gd name="T8" fmla="*/ 123 w 260"/>
                <a:gd name="T9" fmla="*/ 257 h 303"/>
                <a:gd name="T10" fmla="*/ 147 w 260"/>
                <a:gd name="T11" fmla="*/ 248 h 303"/>
                <a:gd name="T12" fmla="*/ 163 w 260"/>
                <a:gd name="T13" fmla="*/ 236 h 303"/>
                <a:gd name="T14" fmla="*/ 173 w 260"/>
                <a:gd name="T15" fmla="*/ 220 h 303"/>
                <a:gd name="T16" fmla="*/ 182 w 260"/>
                <a:gd name="T17" fmla="*/ 176 h 303"/>
                <a:gd name="T18" fmla="*/ 119 w 260"/>
                <a:gd name="T19" fmla="*/ 162 h 303"/>
                <a:gd name="T20" fmla="*/ 163 w 260"/>
                <a:gd name="T21" fmla="*/ 6 h 303"/>
                <a:gd name="T22" fmla="*/ 198 w 260"/>
                <a:gd name="T23" fmla="*/ 24 h 303"/>
                <a:gd name="T24" fmla="*/ 222 w 260"/>
                <a:gd name="T25" fmla="*/ 55 h 303"/>
                <a:gd name="T26" fmla="*/ 230 w 260"/>
                <a:gd name="T27" fmla="*/ 107 h 303"/>
                <a:gd name="T28" fmla="*/ 232 w 260"/>
                <a:gd name="T29" fmla="*/ 244 h 303"/>
                <a:gd name="T30" fmla="*/ 236 w 260"/>
                <a:gd name="T31" fmla="*/ 253 h 303"/>
                <a:gd name="T32" fmla="*/ 246 w 260"/>
                <a:gd name="T33" fmla="*/ 257 h 303"/>
                <a:gd name="T34" fmla="*/ 260 w 260"/>
                <a:gd name="T35" fmla="*/ 257 h 303"/>
                <a:gd name="T36" fmla="*/ 254 w 260"/>
                <a:gd name="T37" fmla="*/ 295 h 303"/>
                <a:gd name="T38" fmla="*/ 234 w 260"/>
                <a:gd name="T39" fmla="*/ 297 h 303"/>
                <a:gd name="T40" fmla="*/ 200 w 260"/>
                <a:gd name="T41" fmla="*/ 285 h 303"/>
                <a:gd name="T42" fmla="*/ 188 w 260"/>
                <a:gd name="T43" fmla="*/ 251 h 303"/>
                <a:gd name="T44" fmla="*/ 153 w 260"/>
                <a:gd name="T45" fmla="*/ 289 h 303"/>
                <a:gd name="T46" fmla="*/ 95 w 260"/>
                <a:gd name="T47" fmla="*/ 303 h 303"/>
                <a:gd name="T48" fmla="*/ 54 w 260"/>
                <a:gd name="T49" fmla="*/ 295 h 303"/>
                <a:gd name="T50" fmla="*/ 34 w 260"/>
                <a:gd name="T51" fmla="*/ 285 h 303"/>
                <a:gd name="T52" fmla="*/ 18 w 260"/>
                <a:gd name="T53" fmla="*/ 269 h 303"/>
                <a:gd name="T54" fmla="*/ 6 w 260"/>
                <a:gd name="T55" fmla="*/ 249 h 303"/>
                <a:gd name="T56" fmla="*/ 0 w 260"/>
                <a:gd name="T57" fmla="*/ 214 h 303"/>
                <a:gd name="T58" fmla="*/ 10 w 260"/>
                <a:gd name="T59" fmla="*/ 172 h 303"/>
                <a:gd name="T60" fmla="*/ 26 w 260"/>
                <a:gd name="T61" fmla="*/ 152 h 303"/>
                <a:gd name="T62" fmla="*/ 54 w 260"/>
                <a:gd name="T63" fmla="*/ 137 h 303"/>
                <a:gd name="T64" fmla="*/ 119 w 260"/>
                <a:gd name="T65" fmla="*/ 125 h 303"/>
                <a:gd name="T66" fmla="*/ 182 w 260"/>
                <a:gd name="T67" fmla="*/ 107 h 303"/>
                <a:gd name="T68" fmla="*/ 167 w 260"/>
                <a:gd name="T69" fmla="*/ 59 h 303"/>
                <a:gd name="T70" fmla="*/ 137 w 260"/>
                <a:gd name="T71" fmla="*/ 43 h 303"/>
                <a:gd name="T72" fmla="*/ 91 w 260"/>
                <a:gd name="T73" fmla="*/ 43 h 303"/>
                <a:gd name="T74" fmla="*/ 50 w 260"/>
                <a:gd name="T75" fmla="*/ 57 h 303"/>
                <a:gd name="T76" fmla="*/ 8 w 260"/>
                <a:gd name="T77" fmla="*/ 35 h 303"/>
                <a:gd name="T78" fmla="*/ 60 w 260"/>
                <a:gd name="T79" fmla="*/ 8 h 303"/>
                <a:gd name="T80" fmla="*/ 119 w 260"/>
                <a:gd name="T8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303">
                  <a:moveTo>
                    <a:pt x="119" y="162"/>
                  </a:moveTo>
                  <a:lnTo>
                    <a:pt x="89" y="164"/>
                  </a:lnTo>
                  <a:lnTo>
                    <a:pt x="68" y="174"/>
                  </a:lnTo>
                  <a:lnTo>
                    <a:pt x="54" y="190"/>
                  </a:lnTo>
                  <a:lnTo>
                    <a:pt x="50" y="212"/>
                  </a:lnTo>
                  <a:lnTo>
                    <a:pt x="54" y="232"/>
                  </a:lnTo>
                  <a:lnTo>
                    <a:pt x="64" y="248"/>
                  </a:lnTo>
                  <a:lnTo>
                    <a:pt x="79" y="255"/>
                  </a:lnTo>
                  <a:lnTo>
                    <a:pt x="105" y="259"/>
                  </a:lnTo>
                  <a:lnTo>
                    <a:pt x="123" y="257"/>
                  </a:lnTo>
                  <a:lnTo>
                    <a:pt x="137" y="253"/>
                  </a:lnTo>
                  <a:lnTo>
                    <a:pt x="147" y="248"/>
                  </a:lnTo>
                  <a:lnTo>
                    <a:pt x="155" y="244"/>
                  </a:lnTo>
                  <a:lnTo>
                    <a:pt x="163" y="236"/>
                  </a:lnTo>
                  <a:lnTo>
                    <a:pt x="169" y="228"/>
                  </a:lnTo>
                  <a:lnTo>
                    <a:pt x="173" y="220"/>
                  </a:lnTo>
                  <a:lnTo>
                    <a:pt x="177" y="210"/>
                  </a:lnTo>
                  <a:lnTo>
                    <a:pt x="182" y="176"/>
                  </a:lnTo>
                  <a:lnTo>
                    <a:pt x="182" y="162"/>
                  </a:lnTo>
                  <a:lnTo>
                    <a:pt x="119" y="162"/>
                  </a:lnTo>
                  <a:close/>
                  <a:moveTo>
                    <a:pt x="119" y="0"/>
                  </a:moveTo>
                  <a:lnTo>
                    <a:pt x="163" y="6"/>
                  </a:lnTo>
                  <a:lnTo>
                    <a:pt x="180" y="12"/>
                  </a:lnTo>
                  <a:lnTo>
                    <a:pt x="198" y="24"/>
                  </a:lnTo>
                  <a:lnTo>
                    <a:pt x="212" y="37"/>
                  </a:lnTo>
                  <a:lnTo>
                    <a:pt x="222" y="55"/>
                  </a:lnTo>
                  <a:lnTo>
                    <a:pt x="228" y="79"/>
                  </a:lnTo>
                  <a:lnTo>
                    <a:pt x="230" y="107"/>
                  </a:lnTo>
                  <a:lnTo>
                    <a:pt x="230" y="236"/>
                  </a:lnTo>
                  <a:lnTo>
                    <a:pt x="232" y="244"/>
                  </a:lnTo>
                  <a:lnTo>
                    <a:pt x="232" y="249"/>
                  </a:lnTo>
                  <a:lnTo>
                    <a:pt x="236" y="253"/>
                  </a:lnTo>
                  <a:lnTo>
                    <a:pt x="240" y="255"/>
                  </a:lnTo>
                  <a:lnTo>
                    <a:pt x="246" y="257"/>
                  </a:lnTo>
                  <a:lnTo>
                    <a:pt x="254" y="257"/>
                  </a:lnTo>
                  <a:lnTo>
                    <a:pt x="260" y="257"/>
                  </a:lnTo>
                  <a:lnTo>
                    <a:pt x="260" y="293"/>
                  </a:lnTo>
                  <a:lnTo>
                    <a:pt x="254" y="295"/>
                  </a:lnTo>
                  <a:lnTo>
                    <a:pt x="248" y="297"/>
                  </a:lnTo>
                  <a:lnTo>
                    <a:pt x="234" y="297"/>
                  </a:lnTo>
                  <a:lnTo>
                    <a:pt x="214" y="295"/>
                  </a:lnTo>
                  <a:lnTo>
                    <a:pt x="200" y="285"/>
                  </a:lnTo>
                  <a:lnTo>
                    <a:pt x="192" y="271"/>
                  </a:lnTo>
                  <a:lnTo>
                    <a:pt x="188" y="251"/>
                  </a:lnTo>
                  <a:lnTo>
                    <a:pt x="173" y="273"/>
                  </a:lnTo>
                  <a:lnTo>
                    <a:pt x="153" y="289"/>
                  </a:lnTo>
                  <a:lnTo>
                    <a:pt x="125" y="299"/>
                  </a:lnTo>
                  <a:lnTo>
                    <a:pt x="95" y="303"/>
                  </a:lnTo>
                  <a:lnTo>
                    <a:pt x="73" y="301"/>
                  </a:lnTo>
                  <a:lnTo>
                    <a:pt x="54" y="295"/>
                  </a:lnTo>
                  <a:lnTo>
                    <a:pt x="44" y="291"/>
                  </a:lnTo>
                  <a:lnTo>
                    <a:pt x="34" y="285"/>
                  </a:lnTo>
                  <a:lnTo>
                    <a:pt x="24" y="277"/>
                  </a:lnTo>
                  <a:lnTo>
                    <a:pt x="18" y="269"/>
                  </a:lnTo>
                  <a:lnTo>
                    <a:pt x="12" y="259"/>
                  </a:lnTo>
                  <a:lnTo>
                    <a:pt x="6" y="249"/>
                  </a:lnTo>
                  <a:lnTo>
                    <a:pt x="2" y="232"/>
                  </a:lnTo>
                  <a:lnTo>
                    <a:pt x="0" y="214"/>
                  </a:lnTo>
                  <a:lnTo>
                    <a:pt x="2" y="192"/>
                  </a:lnTo>
                  <a:lnTo>
                    <a:pt x="10" y="172"/>
                  </a:lnTo>
                  <a:lnTo>
                    <a:pt x="18" y="162"/>
                  </a:lnTo>
                  <a:lnTo>
                    <a:pt x="26" y="152"/>
                  </a:lnTo>
                  <a:lnTo>
                    <a:pt x="36" y="144"/>
                  </a:lnTo>
                  <a:lnTo>
                    <a:pt x="54" y="137"/>
                  </a:lnTo>
                  <a:lnTo>
                    <a:pt x="73" y="129"/>
                  </a:lnTo>
                  <a:lnTo>
                    <a:pt x="119" y="125"/>
                  </a:lnTo>
                  <a:lnTo>
                    <a:pt x="182" y="125"/>
                  </a:lnTo>
                  <a:lnTo>
                    <a:pt x="182" y="107"/>
                  </a:lnTo>
                  <a:lnTo>
                    <a:pt x="179" y="79"/>
                  </a:lnTo>
                  <a:lnTo>
                    <a:pt x="167" y="59"/>
                  </a:lnTo>
                  <a:lnTo>
                    <a:pt x="155" y="49"/>
                  </a:lnTo>
                  <a:lnTo>
                    <a:pt x="137" y="43"/>
                  </a:lnTo>
                  <a:lnTo>
                    <a:pt x="113" y="43"/>
                  </a:lnTo>
                  <a:lnTo>
                    <a:pt x="91" y="43"/>
                  </a:lnTo>
                  <a:lnTo>
                    <a:pt x="70" y="49"/>
                  </a:lnTo>
                  <a:lnTo>
                    <a:pt x="50" y="57"/>
                  </a:lnTo>
                  <a:lnTo>
                    <a:pt x="30" y="69"/>
                  </a:lnTo>
                  <a:lnTo>
                    <a:pt x="8" y="35"/>
                  </a:lnTo>
                  <a:lnTo>
                    <a:pt x="32" y="20"/>
                  </a:lnTo>
                  <a:lnTo>
                    <a:pt x="60" y="8"/>
                  </a:lnTo>
                  <a:lnTo>
                    <a:pt x="87" y="2"/>
                  </a:lnTo>
                  <a:lnTo>
                    <a:pt x="11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8" name="Freeform 52">
              <a:extLst>
                <a:ext uri="{FF2B5EF4-FFF2-40B4-BE49-F238E27FC236}">
                  <a16:creationId xmlns:a16="http://schemas.microsoft.com/office/drawing/2014/main" id="{69B1C9DE-C7BD-41FC-9ED6-B69C46CFCDDD}"/>
                </a:ext>
              </a:extLst>
            </p:cNvPr>
            <p:cNvSpPr>
              <a:spLocks/>
            </p:cNvSpPr>
            <p:nvPr userDrawn="1"/>
          </p:nvSpPr>
          <p:spPr bwMode="auto">
            <a:xfrm>
              <a:off x="2450508" y="1545523"/>
              <a:ext cx="75829" cy="160476"/>
            </a:xfrm>
            <a:custGeom>
              <a:avLst/>
              <a:gdLst>
                <a:gd name="T0" fmla="*/ 49 w 172"/>
                <a:gd name="T1" fmla="*/ 0 h 365"/>
                <a:gd name="T2" fmla="*/ 101 w 172"/>
                <a:gd name="T3" fmla="*/ 0 h 365"/>
                <a:gd name="T4" fmla="*/ 101 w 172"/>
                <a:gd name="T5" fmla="*/ 74 h 365"/>
                <a:gd name="T6" fmla="*/ 172 w 172"/>
                <a:gd name="T7" fmla="*/ 74 h 365"/>
                <a:gd name="T8" fmla="*/ 172 w 172"/>
                <a:gd name="T9" fmla="*/ 115 h 365"/>
                <a:gd name="T10" fmla="*/ 101 w 172"/>
                <a:gd name="T11" fmla="*/ 115 h 365"/>
                <a:gd name="T12" fmla="*/ 101 w 172"/>
                <a:gd name="T13" fmla="*/ 270 h 365"/>
                <a:gd name="T14" fmla="*/ 101 w 172"/>
                <a:gd name="T15" fmla="*/ 288 h 365"/>
                <a:gd name="T16" fmla="*/ 105 w 172"/>
                <a:gd name="T17" fmla="*/ 302 h 365"/>
                <a:gd name="T18" fmla="*/ 113 w 172"/>
                <a:gd name="T19" fmla="*/ 312 h 365"/>
                <a:gd name="T20" fmla="*/ 130 w 172"/>
                <a:gd name="T21" fmla="*/ 319 h 365"/>
                <a:gd name="T22" fmla="*/ 158 w 172"/>
                <a:gd name="T23" fmla="*/ 321 h 365"/>
                <a:gd name="T24" fmla="*/ 172 w 172"/>
                <a:gd name="T25" fmla="*/ 321 h 365"/>
                <a:gd name="T26" fmla="*/ 172 w 172"/>
                <a:gd name="T27" fmla="*/ 361 h 365"/>
                <a:gd name="T28" fmla="*/ 156 w 172"/>
                <a:gd name="T29" fmla="*/ 363 h 365"/>
                <a:gd name="T30" fmla="*/ 148 w 172"/>
                <a:gd name="T31" fmla="*/ 363 h 365"/>
                <a:gd name="T32" fmla="*/ 140 w 172"/>
                <a:gd name="T33" fmla="*/ 365 h 365"/>
                <a:gd name="T34" fmla="*/ 111 w 172"/>
                <a:gd name="T35" fmla="*/ 361 h 365"/>
                <a:gd name="T36" fmla="*/ 87 w 172"/>
                <a:gd name="T37" fmla="*/ 353 h 365"/>
                <a:gd name="T38" fmla="*/ 71 w 172"/>
                <a:gd name="T39" fmla="*/ 341 h 365"/>
                <a:gd name="T40" fmla="*/ 57 w 172"/>
                <a:gd name="T41" fmla="*/ 321 h 365"/>
                <a:gd name="T42" fmla="*/ 51 w 172"/>
                <a:gd name="T43" fmla="*/ 298 h 365"/>
                <a:gd name="T44" fmla="*/ 49 w 172"/>
                <a:gd name="T45" fmla="*/ 264 h 365"/>
                <a:gd name="T46" fmla="*/ 49 w 172"/>
                <a:gd name="T47" fmla="*/ 115 h 365"/>
                <a:gd name="T48" fmla="*/ 0 w 172"/>
                <a:gd name="T49" fmla="*/ 115 h 365"/>
                <a:gd name="T50" fmla="*/ 0 w 172"/>
                <a:gd name="T51" fmla="*/ 74 h 365"/>
                <a:gd name="T52" fmla="*/ 49 w 172"/>
                <a:gd name="T53" fmla="*/ 74 h 365"/>
                <a:gd name="T54" fmla="*/ 49 w 172"/>
                <a:gd name="T5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365">
                  <a:moveTo>
                    <a:pt x="49" y="0"/>
                  </a:moveTo>
                  <a:lnTo>
                    <a:pt x="101" y="0"/>
                  </a:lnTo>
                  <a:lnTo>
                    <a:pt x="101" y="74"/>
                  </a:lnTo>
                  <a:lnTo>
                    <a:pt x="172" y="74"/>
                  </a:lnTo>
                  <a:lnTo>
                    <a:pt x="172" y="115"/>
                  </a:lnTo>
                  <a:lnTo>
                    <a:pt x="101" y="115"/>
                  </a:lnTo>
                  <a:lnTo>
                    <a:pt x="101" y="270"/>
                  </a:lnTo>
                  <a:lnTo>
                    <a:pt x="101" y="288"/>
                  </a:lnTo>
                  <a:lnTo>
                    <a:pt x="105" y="302"/>
                  </a:lnTo>
                  <a:lnTo>
                    <a:pt x="113" y="312"/>
                  </a:lnTo>
                  <a:lnTo>
                    <a:pt x="130" y="319"/>
                  </a:lnTo>
                  <a:lnTo>
                    <a:pt x="158" y="321"/>
                  </a:lnTo>
                  <a:lnTo>
                    <a:pt x="172" y="321"/>
                  </a:lnTo>
                  <a:lnTo>
                    <a:pt x="172" y="361"/>
                  </a:lnTo>
                  <a:lnTo>
                    <a:pt x="156" y="363"/>
                  </a:lnTo>
                  <a:lnTo>
                    <a:pt x="148" y="363"/>
                  </a:lnTo>
                  <a:lnTo>
                    <a:pt x="140" y="365"/>
                  </a:lnTo>
                  <a:lnTo>
                    <a:pt x="111" y="361"/>
                  </a:lnTo>
                  <a:lnTo>
                    <a:pt x="87" y="353"/>
                  </a:lnTo>
                  <a:lnTo>
                    <a:pt x="71" y="341"/>
                  </a:lnTo>
                  <a:lnTo>
                    <a:pt x="57" y="321"/>
                  </a:lnTo>
                  <a:lnTo>
                    <a:pt x="51" y="298"/>
                  </a:lnTo>
                  <a:lnTo>
                    <a:pt x="49" y="264"/>
                  </a:lnTo>
                  <a:lnTo>
                    <a:pt x="49" y="115"/>
                  </a:lnTo>
                  <a:lnTo>
                    <a:pt x="0" y="115"/>
                  </a:lnTo>
                  <a:lnTo>
                    <a:pt x="0" y="74"/>
                  </a:lnTo>
                  <a:lnTo>
                    <a:pt x="49" y="74"/>
                  </a:lnTo>
                  <a:lnTo>
                    <a:pt x="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59" name="Freeform 53">
              <a:extLst>
                <a:ext uri="{FF2B5EF4-FFF2-40B4-BE49-F238E27FC236}">
                  <a16:creationId xmlns:a16="http://schemas.microsoft.com/office/drawing/2014/main" id="{584644BE-F711-4941-8B80-AA662AF6252B}"/>
                </a:ext>
              </a:extLst>
            </p:cNvPr>
            <p:cNvSpPr>
              <a:spLocks/>
            </p:cNvSpPr>
            <p:nvPr userDrawn="1"/>
          </p:nvSpPr>
          <p:spPr bwMode="auto">
            <a:xfrm>
              <a:off x="2549260" y="1528768"/>
              <a:ext cx="24688" cy="67893"/>
            </a:xfrm>
            <a:custGeom>
              <a:avLst/>
              <a:gdLst>
                <a:gd name="T0" fmla="*/ 0 w 58"/>
                <a:gd name="T1" fmla="*/ 0 h 154"/>
                <a:gd name="T2" fmla="*/ 58 w 58"/>
                <a:gd name="T3" fmla="*/ 0 h 154"/>
                <a:gd name="T4" fmla="*/ 58 w 58"/>
                <a:gd name="T5" fmla="*/ 35 h 154"/>
                <a:gd name="T6" fmla="*/ 56 w 58"/>
                <a:gd name="T7" fmla="*/ 71 h 154"/>
                <a:gd name="T8" fmla="*/ 50 w 58"/>
                <a:gd name="T9" fmla="*/ 103 h 154"/>
                <a:gd name="T10" fmla="*/ 42 w 58"/>
                <a:gd name="T11" fmla="*/ 131 h 154"/>
                <a:gd name="T12" fmla="*/ 30 w 58"/>
                <a:gd name="T13" fmla="*/ 154 h 154"/>
                <a:gd name="T14" fmla="*/ 0 w 58"/>
                <a:gd name="T15" fmla="*/ 138 h 154"/>
                <a:gd name="T16" fmla="*/ 16 w 58"/>
                <a:gd name="T17" fmla="*/ 101 h 154"/>
                <a:gd name="T18" fmla="*/ 22 w 58"/>
                <a:gd name="T19" fmla="*/ 61 h 154"/>
                <a:gd name="T20" fmla="*/ 0 w 58"/>
                <a:gd name="T21" fmla="*/ 61 h 154"/>
                <a:gd name="T22" fmla="*/ 0 w 58"/>
                <a:gd name="T2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154">
                  <a:moveTo>
                    <a:pt x="0" y="0"/>
                  </a:moveTo>
                  <a:lnTo>
                    <a:pt x="58" y="0"/>
                  </a:lnTo>
                  <a:lnTo>
                    <a:pt x="58" y="35"/>
                  </a:lnTo>
                  <a:lnTo>
                    <a:pt x="56" y="71"/>
                  </a:lnTo>
                  <a:lnTo>
                    <a:pt x="50" y="103"/>
                  </a:lnTo>
                  <a:lnTo>
                    <a:pt x="42" y="131"/>
                  </a:lnTo>
                  <a:lnTo>
                    <a:pt x="30" y="154"/>
                  </a:lnTo>
                  <a:lnTo>
                    <a:pt x="0" y="138"/>
                  </a:lnTo>
                  <a:lnTo>
                    <a:pt x="16" y="101"/>
                  </a:lnTo>
                  <a:lnTo>
                    <a:pt x="22" y="61"/>
                  </a:lnTo>
                  <a:lnTo>
                    <a:pt x="0" y="61"/>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0" name="Freeform 54">
              <a:extLst>
                <a:ext uri="{FF2B5EF4-FFF2-40B4-BE49-F238E27FC236}">
                  <a16:creationId xmlns:a16="http://schemas.microsoft.com/office/drawing/2014/main" id="{DA9CAD73-F1E0-4AB8-BA73-286C1C5B4144}"/>
                </a:ext>
              </a:extLst>
            </p:cNvPr>
            <p:cNvSpPr>
              <a:spLocks/>
            </p:cNvSpPr>
            <p:nvPr userDrawn="1"/>
          </p:nvSpPr>
          <p:spPr bwMode="auto">
            <a:xfrm>
              <a:off x="2582765" y="1573735"/>
              <a:ext cx="98755" cy="134024"/>
            </a:xfrm>
            <a:custGeom>
              <a:avLst/>
              <a:gdLst>
                <a:gd name="T0" fmla="*/ 170 w 224"/>
                <a:gd name="T1" fmla="*/ 8 h 303"/>
                <a:gd name="T2" fmla="*/ 216 w 224"/>
                <a:gd name="T3" fmla="*/ 30 h 303"/>
                <a:gd name="T4" fmla="*/ 160 w 224"/>
                <a:gd name="T5" fmla="*/ 49 h 303"/>
                <a:gd name="T6" fmla="*/ 117 w 224"/>
                <a:gd name="T7" fmla="*/ 43 h 303"/>
                <a:gd name="T8" fmla="*/ 77 w 224"/>
                <a:gd name="T9" fmla="*/ 51 h 303"/>
                <a:gd name="T10" fmla="*/ 65 w 224"/>
                <a:gd name="T11" fmla="*/ 63 h 303"/>
                <a:gd name="T12" fmla="*/ 61 w 224"/>
                <a:gd name="T13" fmla="*/ 83 h 303"/>
                <a:gd name="T14" fmla="*/ 67 w 224"/>
                <a:gd name="T15" fmla="*/ 103 h 303"/>
                <a:gd name="T16" fmla="*/ 79 w 224"/>
                <a:gd name="T17" fmla="*/ 111 h 303"/>
                <a:gd name="T18" fmla="*/ 97 w 224"/>
                <a:gd name="T19" fmla="*/ 119 h 303"/>
                <a:gd name="T20" fmla="*/ 182 w 224"/>
                <a:gd name="T21" fmla="*/ 148 h 303"/>
                <a:gd name="T22" fmla="*/ 218 w 224"/>
                <a:gd name="T23" fmla="*/ 188 h 303"/>
                <a:gd name="T24" fmla="*/ 220 w 224"/>
                <a:gd name="T25" fmla="*/ 240 h 303"/>
                <a:gd name="T26" fmla="*/ 194 w 224"/>
                <a:gd name="T27" fmla="*/ 279 h 303"/>
                <a:gd name="T28" fmla="*/ 144 w 224"/>
                <a:gd name="T29" fmla="*/ 301 h 303"/>
                <a:gd name="T30" fmla="*/ 79 w 224"/>
                <a:gd name="T31" fmla="*/ 301 h 303"/>
                <a:gd name="T32" fmla="*/ 24 w 224"/>
                <a:gd name="T33" fmla="*/ 281 h 303"/>
                <a:gd name="T34" fmla="*/ 24 w 224"/>
                <a:gd name="T35" fmla="*/ 230 h 303"/>
                <a:gd name="T36" fmla="*/ 65 w 224"/>
                <a:gd name="T37" fmla="*/ 251 h 303"/>
                <a:gd name="T38" fmla="*/ 113 w 224"/>
                <a:gd name="T39" fmla="*/ 259 h 303"/>
                <a:gd name="T40" fmla="*/ 156 w 224"/>
                <a:gd name="T41" fmla="*/ 249 h 303"/>
                <a:gd name="T42" fmla="*/ 172 w 224"/>
                <a:gd name="T43" fmla="*/ 216 h 303"/>
                <a:gd name="T44" fmla="*/ 168 w 224"/>
                <a:gd name="T45" fmla="*/ 198 h 303"/>
                <a:gd name="T46" fmla="*/ 156 w 224"/>
                <a:gd name="T47" fmla="*/ 186 h 303"/>
                <a:gd name="T48" fmla="*/ 135 w 224"/>
                <a:gd name="T49" fmla="*/ 176 h 303"/>
                <a:gd name="T50" fmla="*/ 49 w 224"/>
                <a:gd name="T51" fmla="*/ 148 h 303"/>
                <a:gd name="T52" fmla="*/ 14 w 224"/>
                <a:gd name="T53" fmla="*/ 109 h 303"/>
                <a:gd name="T54" fmla="*/ 12 w 224"/>
                <a:gd name="T55" fmla="*/ 63 h 303"/>
                <a:gd name="T56" fmla="*/ 24 w 224"/>
                <a:gd name="T57" fmla="*/ 37 h 303"/>
                <a:gd name="T58" fmla="*/ 41 w 224"/>
                <a:gd name="T59" fmla="*/ 20 h 303"/>
                <a:gd name="T60" fmla="*/ 75 w 224"/>
                <a:gd name="T61" fmla="*/ 6 h 303"/>
                <a:gd name="T62" fmla="*/ 117 w 224"/>
                <a:gd name="T6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 h="303">
                  <a:moveTo>
                    <a:pt x="117" y="0"/>
                  </a:moveTo>
                  <a:lnTo>
                    <a:pt x="170" y="8"/>
                  </a:lnTo>
                  <a:lnTo>
                    <a:pt x="196" y="16"/>
                  </a:lnTo>
                  <a:lnTo>
                    <a:pt x="216" y="30"/>
                  </a:lnTo>
                  <a:lnTo>
                    <a:pt x="198" y="65"/>
                  </a:lnTo>
                  <a:lnTo>
                    <a:pt x="160" y="49"/>
                  </a:lnTo>
                  <a:lnTo>
                    <a:pt x="140" y="43"/>
                  </a:lnTo>
                  <a:lnTo>
                    <a:pt x="117" y="43"/>
                  </a:lnTo>
                  <a:lnTo>
                    <a:pt x="95" y="45"/>
                  </a:lnTo>
                  <a:lnTo>
                    <a:pt x="77" y="51"/>
                  </a:lnTo>
                  <a:lnTo>
                    <a:pt x="69" y="57"/>
                  </a:lnTo>
                  <a:lnTo>
                    <a:pt x="65" y="63"/>
                  </a:lnTo>
                  <a:lnTo>
                    <a:pt x="61" y="73"/>
                  </a:lnTo>
                  <a:lnTo>
                    <a:pt x="61" y="83"/>
                  </a:lnTo>
                  <a:lnTo>
                    <a:pt x="63" y="93"/>
                  </a:lnTo>
                  <a:lnTo>
                    <a:pt x="67" y="103"/>
                  </a:lnTo>
                  <a:lnTo>
                    <a:pt x="71" y="107"/>
                  </a:lnTo>
                  <a:lnTo>
                    <a:pt x="79" y="111"/>
                  </a:lnTo>
                  <a:lnTo>
                    <a:pt x="87" y="115"/>
                  </a:lnTo>
                  <a:lnTo>
                    <a:pt x="97" y="119"/>
                  </a:lnTo>
                  <a:lnTo>
                    <a:pt x="150" y="135"/>
                  </a:lnTo>
                  <a:lnTo>
                    <a:pt x="182" y="148"/>
                  </a:lnTo>
                  <a:lnTo>
                    <a:pt x="206" y="166"/>
                  </a:lnTo>
                  <a:lnTo>
                    <a:pt x="218" y="188"/>
                  </a:lnTo>
                  <a:lnTo>
                    <a:pt x="224" y="214"/>
                  </a:lnTo>
                  <a:lnTo>
                    <a:pt x="220" y="240"/>
                  </a:lnTo>
                  <a:lnTo>
                    <a:pt x="210" y="259"/>
                  </a:lnTo>
                  <a:lnTo>
                    <a:pt x="194" y="279"/>
                  </a:lnTo>
                  <a:lnTo>
                    <a:pt x="172" y="293"/>
                  </a:lnTo>
                  <a:lnTo>
                    <a:pt x="144" y="301"/>
                  </a:lnTo>
                  <a:lnTo>
                    <a:pt x="113" y="303"/>
                  </a:lnTo>
                  <a:lnTo>
                    <a:pt x="79" y="301"/>
                  </a:lnTo>
                  <a:lnTo>
                    <a:pt x="49" y="293"/>
                  </a:lnTo>
                  <a:lnTo>
                    <a:pt x="24" y="281"/>
                  </a:lnTo>
                  <a:lnTo>
                    <a:pt x="0" y="265"/>
                  </a:lnTo>
                  <a:lnTo>
                    <a:pt x="24" y="230"/>
                  </a:lnTo>
                  <a:lnTo>
                    <a:pt x="43" y="242"/>
                  </a:lnTo>
                  <a:lnTo>
                    <a:pt x="65"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1" y="28"/>
                  </a:lnTo>
                  <a:lnTo>
                    <a:pt x="41" y="20"/>
                  </a:lnTo>
                  <a:lnTo>
                    <a:pt x="55" y="12"/>
                  </a:lnTo>
                  <a:lnTo>
                    <a:pt x="75"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1" name="Freeform 55">
              <a:extLst>
                <a:ext uri="{FF2B5EF4-FFF2-40B4-BE49-F238E27FC236}">
                  <a16:creationId xmlns:a16="http://schemas.microsoft.com/office/drawing/2014/main" id="{74E79E41-F7F2-4A03-B819-6F877934F493}"/>
                </a:ext>
              </a:extLst>
            </p:cNvPr>
            <p:cNvSpPr>
              <a:spLocks noEditPoints="1"/>
            </p:cNvSpPr>
            <p:nvPr userDrawn="1"/>
          </p:nvSpPr>
          <p:spPr bwMode="auto">
            <a:xfrm>
              <a:off x="2767933" y="1527007"/>
              <a:ext cx="23807" cy="177228"/>
            </a:xfrm>
            <a:custGeom>
              <a:avLst/>
              <a:gdLst>
                <a:gd name="T0" fmla="*/ 2 w 53"/>
                <a:gd name="T1" fmla="*/ 115 h 402"/>
                <a:gd name="T2" fmla="*/ 53 w 53"/>
                <a:gd name="T3" fmla="*/ 115 h 402"/>
                <a:gd name="T4" fmla="*/ 53 w 53"/>
                <a:gd name="T5" fmla="*/ 402 h 402"/>
                <a:gd name="T6" fmla="*/ 2 w 53"/>
                <a:gd name="T7" fmla="*/ 402 h 402"/>
                <a:gd name="T8" fmla="*/ 2 w 53"/>
                <a:gd name="T9" fmla="*/ 115 h 402"/>
                <a:gd name="T10" fmla="*/ 0 w 53"/>
                <a:gd name="T11" fmla="*/ 0 h 402"/>
                <a:gd name="T12" fmla="*/ 53 w 53"/>
                <a:gd name="T13" fmla="*/ 0 h 402"/>
                <a:gd name="T14" fmla="*/ 53 w 53"/>
                <a:gd name="T15" fmla="*/ 57 h 402"/>
                <a:gd name="T16" fmla="*/ 0 w 53"/>
                <a:gd name="T17" fmla="*/ 57 h 402"/>
                <a:gd name="T18" fmla="*/ 0 w 53"/>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402">
                  <a:moveTo>
                    <a:pt x="2" y="115"/>
                  </a:moveTo>
                  <a:lnTo>
                    <a:pt x="53" y="115"/>
                  </a:lnTo>
                  <a:lnTo>
                    <a:pt x="53" y="402"/>
                  </a:lnTo>
                  <a:lnTo>
                    <a:pt x="2" y="402"/>
                  </a:lnTo>
                  <a:lnTo>
                    <a:pt x="2" y="115"/>
                  </a:lnTo>
                  <a:close/>
                  <a:moveTo>
                    <a:pt x="0" y="0"/>
                  </a:moveTo>
                  <a:lnTo>
                    <a:pt x="53" y="0"/>
                  </a:lnTo>
                  <a:lnTo>
                    <a:pt x="53"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2" name="Freeform 56">
              <a:extLst>
                <a:ext uri="{FF2B5EF4-FFF2-40B4-BE49-F238E27FC236}">
                  <a16:creationId xmlns:a16="http://schemas.microsoft.com/office/drawing/2014/main" id="{7438F9BC-CC6C-4FF6-8E7B-BA1D72CDEE46}"/>
                </a:ext>
              </a:extLst>
            </p:cNvPr>
            <p:cNvSpPr>
              <a:spLocks/>
            </p:cNvSpPr>
            <p:nvPr userDrawn="1"/>
          </p:nvSpPr>
          <p:spPr bwMode="auto">
            <a:xfrm>
              <a:off x="2828769" y="1573735"/>
              <a:ext cx="111099" cy="130496"/>
            </a:xfrm>
            <a:custGeom>
              <a:avLst/>
              <a:gdLst>
                <a:gd name="T0" fmla="*/ 148 w 251"/>
                <a:gd name="T1" fmla="*/ 0 h 295"/>
                <a:gd name="T2" fmla="*/ 178 w 251"/>
                <a:gd name="T3" fmla="*/ 4 h 295"/>
                <a:gd name="T4" fmla="*/ 204 w 251"/>
                <a:gd name="T5" fmla="*/ 12 h 295"/>
                <a:gd name="T6" fmla="*/ 224 w 251"/>
                <a:gd name="T7" fmla="*/ 28 h 295"/>
                <a:gd name="T8" fmla="*/ 239 w 251"/>
                <a:gd name="T9" fmla="*/ 49 h 295"/>
                <a:gd name="T10" fmla="*/ 247 w 251"/>
                <a:gd name="T11" fmla="*/ 77 h 295"/>
                <a:gd name="T12" fmla="*/ 251 w 251"/>
                <a:gd name="T13" fmla="*/ 111 h 295"/>
                <a:gd name="T14" fmla="*/ 251 w 251"/>
                <a:gd name="T15" fmla="*/ 295 h 295"/>
                <a:gd name="T16" fmla="*/ 200 w 251"/>
                <a:gd name="T17" fmla="*/ 295 h 295"/>
                <a:gd name="T18" fmla="*/ 200 w 251"/>
                <a:gd name="T19" fmla="*/ 117 h 295"/>
                <a:gd name="T20" fmla="*/ 198 w 251"/>
                <a:gd name="T21" fmla="*/ 93 h 295"/>
                <a:gd name="T22" fmla="*/ 192 w 251"/>
                <a:gd name="T23" fmla="*/ 75 h 295"/>
                <a:gd name="T24" fmla="*/ 184 w 251"/>
                <a:gd name="T25" fmla="*/ 61 h 295"/>
                <a:gd name="T26" fmla="*/ 172 w 251"/>
                <a:gd name="T27" fmla="*/ 51 h 295"/>
                <a:gd name="T28" fmla="*/ 156 w 251"/>
                <a:gd name="T29" fmla="*/ 45 h 295"/>
                <a:gd name="T30" fmla="*/ 136 w 251"/>
                <a:gd name="T31" fmla="*/ 43 h 295"/>
                <a:gd name="T32" fmla="*/ 113 w 251"/>
                <a:gd name="T33" fmla="*/ 47 h 295"/>
                <a:gd name="T34" fmla="*/ 91 w 251"/>
                <a:gd name="T35" fmla="*/ 55 h 295"/>
                <a:gd name="T36" fmla="*/ 75 w 251"/>
                <a:gd name="T37" fmla="*/ 69 h 295"/>
                <a:gd name="T38" fmla="*/ 61 w 251"/>
                <a:gd name="T39" fmla="*/ 89 h 295"/>
                <a:gd name="T40" fmla="*/ 53 w 251"/>
                <a:gd name="T41" fmla="*/ 113 h 295"/>
                <a:gd name="T42" fmla="*/ 51 w 251"/>
                <a:gd name="T43" fmla="*/ 142 h 295"/>
                <a:gd name="T44" fmla="*/ 51 w 251"/>
                <a:gd name="T45" fmla="*/ 295 h 295"/>
                <a:gd name="T46" fmla="*/ 0 w 251"/>
                <a:gd name="T47" fmla="*/ 295 h 295"/>
                <a:gd name="T48" fmla="*/ 0 w 251"/>
                <a:gd name="T49" fmla="*/ 8 h 295"/>
                <a:gd name="T50" fmla="*/ 25 w 251"/>
                <a:gd name="T51" fmla="*/ 8 h 295"/>
                <a:gd name="T52" fmla="*/ 35 w 251"/>
                <a:gd name="T53" fmla="*/ 8 h 295"/>
                <a:gd name="T54" fmla="*/ 41 w 251"/>
                <a:gd name="T55" fmla="*/ 10 h 295"/>
                <a:gd name="T56" fmla="*/ 45 w 251"/>
                <a:gd name="T57" fmla="*/ 16 h 295"/>
                <a:gd name="T58" fmla="*/ 49 w 251"/>
                <a:gd name="T59" fmla="*/ 20 h 295"/>
                <a:gd name="T60" fmla="*/ 49 w 251"/>
                <a:gd name="T61" fmla="*/ 28 h 295"/>
                <a:gd name="T62" fmla="*/ 49 w 251"/>
                <a:gd name="T63" fmla="*/ 51 h 295"/>
                <a:gd name="T64" fmla="*/ 65 w 251"/>
                <a:gd name="T65" fmla="*/ 30 h 295"/>
                <a:gd name="T66" fmla="*/ 89 w 251"/>
                <a:gd name="T67" fmla="*/ 14 h 295"/>
                <a:gd name="T68" fmla="*/ 117 w 251"/>
                <a:gd name="T69" fmla="*/ 4 h 295"/>
                <a:gd name="T70" fmla="*/ 148 w 251"/>
                <a:gd name="T7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295">
                  <a:moveTo>
                    <a:pt x="148" y="0"/>
                  </a:moveTo>
                  <a:lnTo>
                    <a:pt x="178" y="4"/>
                  </a:lnTo>
                  <a:lnTo>
                    <a:pt x="204" y="12"/>
                  </a:lnTo>
                  <a:lnTo>
                    <a:pt x="224" y="28"/>
                  </a:lnTo>
                  <a:lnTo>
                    <a:pt x="239" y="49"/>
                  </a:lnTo>
                  <a:lnTo>
                    <a:pt x="247" y="77"/>
                  </a:lnTo>
                  <a:lnTo>
                    <a:pt x="251" y="111"/>
                  </a:lnTo>
                  <a:lnTo>
                    <a:pt x="251" y="295"/>
                  </a:lnTo>
                  <a:lnTo>
                    <a:pt x="200" y="295"/>
                  </a:lnTo>
                  <a:lnTo>
                    <a:pt x="200" y="117"/>
                  </a:lnTo>
                  <a:lnTo>
                    <a:pt x="198" y="93"/>
                  </a:lnTo>
                  <a:lnTo>
                    <a:pt x="192" y="75"/>
                  </a:lnTo>
                  <a:lnTo>
                    <a:pt x="184" y="61"/>
                  </a:lnTo>
                  <a:lnTo>
                    <a:pt x="172" y="51"/>
                  </a:lnTo>
                  <a:lnTo>
                    <a:pt x="156" y="45"/>
                  </a:lnTo>
                  <a:lnTo>
                    <a:pt x="136" y="43"/>
                  </a:lnTo>
                  <a:lnTo>
                    <a:pt x="113" y="47"/>
                  </a:lnTo>
                  <a:lnTo>
                    <a:pt x="91" y="55"/>
                  </a:lnTo>
                  <a:lnTo>
                    <a:pt x="75" y="69"/>
                  </a:lnTo>
                  <a:lnTo>
                    <a:pt x="61" y="89"/>
                  </a:lnTo>
                  <a:lnTo>
                    <a:pt x="53" y="113"/>
                  </a:lnTo>
                  <a:lnTo>
                    <a:pt x="51" y="142"/>
                  </a:lnTo>
                  <a:lnTo>
                    <a:pt x="51" y="295"/>
                  </a:lnTo>
                  <a:lnTo>
                    <a:pt x="0" y="295"/>
                  </a:lnTo>
                  <a:lnTo>
                    <a:pt x="0" y="8"/>
                  </a:lnTo>
                  <a:lnTo>
                    <a:pt x="25" y="8"/>
                  </a:lnTo>
                  <a:lnTo>
                    <a:pt x="35" y="8"/>
                  </a:lnTo>
                  <a:lnTo>
                    <a:pt x="41" y="10"/>
                  </a:lnTo>
                  <a:lnTo>
                    <a:pt x="45" y="16"/>
                  </a:lnTo>
                  <a:lnTo>
                    <a:pt x="49" y="20"/>
                  </a:lnTo>
                  <a:lnTo>
                    <a:pt x="49" y="28"/>
                  </a:lnTo>
                  <a:lnTo>
                    <a:pt x="49" y="51"/>
                  </a:lnTo>
                  <a:lnTo>
                    <a:pt x="65" y="30"/>
                  </a:lnTo>
                  <a:lnTo>
                    <a:pt x="89" y="14"/>
                  </a:lnTo>
                  <a:lnTo>
                    <a:pt x="117" y="4"/>
                  </a:lnTo>
                  <a:lnTo>
                    <a:pt x="148"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3" name="Freeform 57">
              <a:extLst>
                <a:ext uri="{FF2B5EF4-FFF2-40B4-BE49-F238E27FC236}">
                  <a16:creationId xmlns:a16="http://schemas.microsoft.com/office/drawing/2014/main" id="{02165AA1-F90A-431A-B187-F86439E4B28C}"/>
                </a:ext>
              </a:extLst>
            </p:cNvPr>
            <p:cNvSpPr>
              <a:spLocks/>
            </p:cNvSpPr>
            <p:nvPr userDrawn="1"/>
          </p:nvSpPr>
          <p:spPr bwMode="auto">
            <a:xfrm>
              <a:off x="2964556" y="1573735"/>
              <a:ext cx="97872" cy="134024"/>
            </a:xfrm>
            <a:custGeom>
              <a:avLst/>
              <a:gdLst>
                <a:gd name="T0" fmla="*/ 143 w 222"/>
                <a:gd name="T1" fmla="*/ 2 h 303"/>
                <a:gd name="T2" fmla="*/ 194 w 222"/>
                <a:gd name="T3" fmla="*/ 16 h 303"/>
                <a:gd name="T4" fmla="*/ 196 w 222"/>
                <a:gd name="T5" fmla="*/ 65 h 303"/>
                <a:gd name="T6" fmla="*/ 141 w 222"/>
                <a:gd name="T7" fmla="*/ 43 h 303"/>
                <a:gd name="T8" fmla="*/ 95 w 222"/>
                <a:gd name="T9" fmla="*/ 45 h 303"/>
                <a:gd name="T10" fmla="*/ 69 w 222"/>
                <a:gd name="T11" fmla="*/ 57 h 303"/>
                <a:gd name="T12" fmla="*/ 61 w 222"/>
                <a:gd name="T13" fmla="*/ 73 h 303"/>
                <a:gd name="T14" fmla="*/ 61 w 222"/>
                <a:gd name="T15" fmla="*/ 93 h 303"/>
                <a:gd name="T16" fmla="*/ 71 w 222"/>
                <a:gd name="T17" fmla="*/ 107 h 303"/>
                <a:gd name="T18" fmla="*/ 87 w 222"/>
                <a:gd name="T19" fmla="*/ 115 h 303"/>
                <a:gd name="T20" fmla="*/ 150 w 222"/>
                <a:gd name="T21" fmla="*/ 135 h 303"/>
                <a:gd name="T22" fmla="*/ 206 w 222"/>
                <a:gd name="T23" fmla="*/ 166 h 303"/>
                <a:gd name="T24" fmla="*/ 222 w 222"/>
                <a:gd name="T25" fmla="*/ 214 h 303"/>
                <a:gd name="T26" fmla="*/ 210 w 222"/>
                <a:gd name="T27" fmla="*/ 259 h 303"/>
                <a:gd name="T28" fmla="*/ 172 w 222"/>
                <a:gd name="T29" fmla="*/ 293 h 303"/>
                <a:gd name="T30" fmla="*/ 113 w 222"/>
                <a:gd name="T31" fmla="*/ 303 h 303"/>
                <a:gd name="T32" fmla="*/ 49 w 222"/>
                <a:gd name="T33" fmla="*/ 293 h 303"/>
                <a:gd name="T34" fmla="*/ 0 w 222"/>
                <a:gd name="T35" fmla="*/ 265 h 303"/>
                <a:gd name="T36" fmla="*/ 43 w 222"/>
                <a:gd name="T37" fmla="*/ 242 h 303"/>
                <a:gd name="T38" fmla="*/ 87 w 222"/>
                <a:gd name="T39" fmla="*/ 257 h 303"/>
                <a:gd name="T40" fmla="*/ 137 w 222"/>
                <a:gd name="T41" fmla="*/ 257 h 303"/>
                <a:gd name="T42" fmla="*/ 168 w 222"/>
                <a:gd name="T43" fmla="*/ 236 h 303"/>
                <a:gd name="T44" fmla="*/ 170 w 222"/>
                <a:gd name="T45" fmla="*/ 206 h 303"/>
                <a:gd name="T46" fmla="*/ 164 w 222"/>
                <a:gd name="T47" fmla="*/ 192 h 303"/>
                <a:gd name="T48" fmla="*/ 146 w 222"/>
                <a:gd name="T49" fmla="*/ 182 h 303"/>
                <a:gd name="T50" fmla="*/ 81 w 222"/>
                <a:gd name="T51" fmla="*/ 160 h 303"/>
                <a:gd name="T52" fmla="*/ 28 w 222"/>
                <a:gd name="T53" fmla="*/ 131 h 303"/>
                <a:gd name="T54" fmla="*/ 10 w 222"/>
                <a:gd name="T55" fmla="*/ 83 h 303"/>
                <a:gd name="T56" fmla="*/ 18 w 222"/>
                <a:gd name="T57" fmla="*/ 47 h 303"/>
                <a:gd name="T58" fmla="*/ 32 w 222"/>
                <a:gd name="T59" fmla="*/ 28 h 303"/>
                <a:gd name="T60" fmla="*/ 55 w 222"/>
                <a:gd name="T61" fmla="*/ 12 h 303"/>
                <a:gd name="T62" fmla="*/ 95 w 222"/>
                <a:gd name="T63" fmla="*/ 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303">
                  <a:moveTo>
                    <a:pt x="117" y="0"/>
                  </a:moveTo>
                  <a:lnTo>
                    <a:pt x="143" y="2"/>
                  </a:lnTo>
                  <a:lnTo>
                    <a:pt x="170" y="8"/>
                  </a:lnTo>
                  <a:lnTo>
                    <a:pt x="194" y="16"/>
                  </a:lnTo>
                  <a:lnTo>
                    <a:pt x="216" y="30"/>
                  </a:lnTo>
                  <a:lnTo>
                    <a:pt x="196" y="65"/>
                  </a:lnTo>
                  <a:lnTo>
                    <a:pt x="160" y="49"/>
                  </a:lnTo>
                  <a:lnTo>
                    <a:pt x="141" y="43"/>
                  </a:lnTo>
                  <a:lnTo>
                    <a:pt x="117" y="43"/>
                  </a:lnTo>
                  <a:lnTo>
                    <a:pt x="95" y="45"/>
                  </a:lnTo>
                  <a:lnTo>
                    <a:pt x="77" y="51"/>
                  </a:lnTo>
                  <a:lnTo>
                    <a:pt x="69" y="57"/>
                  </a:lnTo>
                  <a:lnTo>
                    <a:pt x="65" y="63"/>
                  </a:lnTo>
                  <a:lnTo>
                    <a:pt x="61" y="73"/>
                  </a:lnTo>
                  <a:lnTo>
                    <a:pt x="61" y="83"/>
                  </a:lnTo>
                  <a:lnTo>
                    <a:pt x="61" y="93"/>
                  </a:lnTo>
                  <a:lnTo>
                    <a:pt x="67" y="103"/>
                  </a:lnTo>
                  <a:lnTo>
                    <a:pt x="71" y="107"/>
                  </a:lnTo>
                  <a:lnTo>
                    <a:pt x="77" y="111"/>
                  </a:lnTo>
                  <a:lnTo>
                    <a:pt x="87" y="115"/>
                  </a:lnTo>
                  <a:lnTo>
                    <a:pt x="97" y="119"/>
                  </a:lnTo>
                  <a:lnTo>
                    <a:pt x="150" y="135"/>
                  </a:lnTo>
                  <a:lnTo>
                    <a:pt x="182" y="148"/>
                  </a:lnTo>
                  <a:lnTo>
                    <a:pt x="206" y="166"/>
                  </a:lnTo>
                  <a:lnTo>
                    <a:pt x="218" y="188"/>
                  </a:lnTo>
                  <a:lnTo>
                    <a:pt x="222" y="214"/>
                  </a:lnTo>
                  <a:lnTo>
                    <a:pt x="220" y="240"/>
                  </a:lnTo>
                  <a:lnTo>
                    <a:pt x="210" y="259"/>
                  </a:lnTo>
                  <a:lnTo>
                    <a:pt x="194" y="279"/>
                  </a:lnTo>
                  <a:lnTo>
                    <a:pt x="172" y="293"/>
                  </a:lnTo>
                  <a:lnTo>
                    <a:pt x="145" y="301"/>
                  </a:lnTo>
                  <a:lnTo>
                    <a:pt x="113" y="303"/>
                  </a:lnTo>
                  <a:lnTo>
                    <a:pt x="79" y="301"/>
                  </a:lnTo>
                  <a:lnTo>
                    <a:pt x="49" y="293"/>
                  </a:lnTo>
                  <a:lnTo>
                    <a:pt x="24" y="281"/>
                  </a:lnTo>
                  <a:lnTo>
                    <a:pt x="0" y="265"/>
                  </a:lnTo>
                  <a:lnTo>
                    <a:pt x="24" y="230"/>
                  </a:lnTo>
                  <a:lnTo>
                    <a:pt x="43" y="242"/>
                  </a:lnTo>
                  <a:lnTo>
                    <a:pt x="63"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2" y="28"/>
                  </a:lnTo>
                  <a:lnTo>
                    <a:pt x="39" y="20"/>
                  </a:lnTo>
                  <a:lnTo>
                    <a:pt x="55" y="12"/>
                  </a:lnTo>
                  <a:lnTo>
                    <a:pt x="73"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4" name="Freeform 58">
              <a:extLst>
                <a:ext uri="{FF2B5EF4-FFF2-40B4-BE49-F238E27FC236}">
                  <a16:creationId xmlns:a16="http://schemas.microsoft.com/office/drawing/2014/main" id="{CEE624C6-2A66-420F-8B18-484ED8825D1E}"/>
                </a:ext>
              </a:extLst>
            </p:cNvPr>
            <p:cNvSpPr>
              <a:spLocks noEditPoints="1"/>
            </p:cNvSpPr>
            <p:nvPr userDrawn="1"/>
          </p:nvSpPr>
          <p:spPr bwMode="auto">
            <a:xfrm>
              <a:off x="3090646" y="1527007"/>
              <a:ext cx="23807" cy="177228"/>
            </a:xfrm>
            <a:custGeom>
              <a:avLst/>
              <a:gdLst>
                <a:gd name="T0" fmla="*/ 2 w 54"/>
                <a:gd name="T1" fmla="*/ 115 h 402"/>
                <a:gd name="T2" fmla="*/ 54 w 54"/>
                <a:gd name="T3" fmla="*/ 115 h 402"/>
                <a:gd name="T4" fmla="*/ 54 w 54"/>
                <a:gd name="T5" fmla="*/ 402 h 402"/>
                <a:gd name="T6" fmla="*/ 2 w 54"/>
                <a:gd name="T7" fmla="*/ 402 h 402"/>
                <a:gd name="T8" fmla="*/ 2 w 54"/>
                <a:gd name="T9" fmla="*/ 115 h 402"/>
                <a:gd name="T10" fmla="*/ 0 w 54"/>
                <a:gd name="T11" fmla="*/ 0 h 402"/>
                <a:gd name="T12" fmla="*/ 54 w 54"/>
                <a:gd name="T13" fmla="*/ 0 h 402"/>
                <a:gd name="T14" fmla="*/ 54 w 54"/>
                <a:gd name="T15" fmla="*/ 57 h 402"/>
                <a:gd name="T16" fmla="*/ 0 w 54"/>
                <a:gd name="T17" fmla="*/ 57 h 402"/>
                <a:gd name="T18" fmla="*/ 0 w 54"/>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2">
                  <a:moveTo>
                    <a:pt x="2" y="115"/>
                  </a:moveTo>
                  <a:lnTo>
                    <a:pt x="54" y="115"/>
                  </a:lnTo>
                  <a:lnTo>
                    <a:pt x="54" y="402"/>
                  </a:lnTo>
                  <a:lnTo>
                    <a:pt x="2" y="402"/>
                  </a:lnTo>
                  <a:lnTo>
                    <a:pt x="2" y="115"/>
                  </a:lnTo>
                  <a:close/>
                  <a:moveTo>
                    <a:pt x="0" y="0"/>
                  </a:moveTo>
                  <a:lnTo>
                    <a:pt x="54" y="0"/>
                  </a:lnTo>
                  <a:lnTo>
                    <a:pt x="54"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5" name="Freeform 59">
              <a:extLst>
                <a:ext uri="{FF2B5EF4-FFF2-40B4-BE49-F238E27FC236}">
                  <a16:creationId xmlns:a16="http://schemas.microsoft.com/office/drawing/2014/main" id="{62AF0B67-57B5-46E7-B04C-2B0C6A1F7997}"/>
                </a:ext>
              </a:extLst>
            </p:cNvPr>
            <p:cNvSpPr>
              <a:spLocks noEditPoints="1"/>
            </p:cNvSpPr>
            <p:nvPr userDrawn="1"/>
          </p:nvSpPr>
          <p:spPr bwMode="auto">
            <a:xfrm>
              <a:off x="3142669" y="1522595"/>
              <a:ext cx="121679" cy="185164"/>
            </a:xfrm>
            <a:custGeom>
              <a:avLst/>
              <a:gdLst>
                <a:gd name="T0" fmla="*/ 141 w 278"/>
                <a:gd name="T1" fmla="*/ 160 h 420"/>
                <a:gd name="T2" fmla="*/ 115 w 278"/>
                <a:gd name="T3" fmla="*/ 164 h 420"/>
                <a:gd name="T4" fmla="*/ 93 w 278"/>
                <a:gd name="T5" fmla="*/ 174 h 420"/>
                <a:gd name="T6" fmla="*/ 77 w 278"/>
                <a:gd name="T7" fmla="*/ 190 h 420"/>
                <a:gd name="T8" fmla="*/ 64 w 278"/>
                <a:gd name="T9" fmla="*/ 210 h 420"/>
                <a:gd name="T10" fmla="*/ 58 w 278"/>
                <a:gd name="T11" fmla="*/ 238 h 420"/>
                <a:gd name="T12" fmla="*/ 54 w 278"/>
                <a:gd name="T13" fmla="*/ 269 h 420"/>
                <a:gd name="T14" fmla="*/ 58 w 278"/>
                <a:gd name="T15" fmla="*/ 301 h 420"/>
                <a:gd name="T16" fmla="*/ 64 w 278"/>
                <a:gd name="T17" fmla="*/ 327 h 420"/>
                <a:gd name="T18" fmla="*/ 77 w 278"/>
                <a:gd name="T19" fmla="*/ 349 h 420"/>
                <a:gd name="T20" fmla="*/ 93 w 278"/>
                <a:gd name="T21" fmla="*/ 365 h 420"/>
                <a:gd name="T22" fmla="*/ 115 w 278"/>
                <a:gd name="T23" fmla="*/ 372 h 420"/>
                <a:gd name="T24" fmla="*/ 141 w 278"/>
                <a:gd name="T25" fmla="*/ 376 h 420"/>
                <a:gd name="T26" fmla="*/ 167 w 278"/>
                <a:gd name="T27" fmla="*/ 372 h 420"/>
                <a:gd name="T28" fmla="*/ 186 w 278"/>
                <a:gd name="T29" fmla="*/ 363 h 420"/>
                <a:gd name="T30" fmla="*/ 204 w 278"/>
                <a:gd name="T31" fmla="*/ 347 h 420"/>
                <a:gd name="T32" fmla="*/ 216 w 278"/>
                <a:gd name="T33" fmla="*/ 325 h 420"/>
                <a:gd name="T34" fmla="*/ 224 w 278"/>
                <a:gd name="T35" fmla="*/ 299 h 420"/>
                <a:gd name="T36" fmla="*/ 226 w 278"/>
                <a:gd name="T37" fmla="*/ 269 h 420"/>
                <a:gd name="T38" fmla="*/ 224 w 278"/>
                <a:gd name="T39" fmla="*/ 236 h 420"/>
                <a:gd name="T40" fmla="*/ 218 w 278"/>
                <a:gd name="T41" fmla="*/ 210 h 420"/>
                <a:gd name="T42" fmla="*/ 204 w 278"/>
                <a:gd name="T43" fmla="*/ 188 h 420"/>
                <a:gd name="T44" fmla="*/ 188 w 278"/>
                <a:gd name="T45" fmla="*/ 174 h 420"/>
                <a:gd name="T46" fmla="*/ 167 w 278"/>
                <a:gd name="T47" fmla="*/ 164 h 420"/>
                <a:gd name="T48" fmla="*/ 141 w 278"/>
                <a:gd name="T49" fmla="*/ 160 h 420"/>
                <a:gd name="T50" fmla="*/ 226 w 278"/>
                <a:gd name="T51" fmla="*/ 0 h 420"/>
                <a:gd name="T52" fmla="*/ 278 w 278"/>
                <a:gd name="T53" fmla="*/ 0 h 420"/>
                <a:gd name="T54" fmla="*/ 278 w 278"/>
                <a:gd name="T55" fmla="*/ 412 h 420"/>
                <a:gd name="T56" fmla="*/ 250 w 278"/>
                <a:gd name="T57" fmla="*/ 412 h 420"/>
                <a:gd name="T58" fmla="*/ 242 w 278"/>
                <a:gd name="T59" fmla="*/ 412 h 420"/>
                <a:gd name="T60" fmla="*/ 236 w 278"/>
                <a:gd name="T61" fmla="*/ 410 h 420"/>
                <a:gd name="T62" fmla="*/ 230 w 278"/>
                <a:gd name="T63" fmla="*/ 406 h 420"/>
                <a:gd name="T64" fmla="*/ 228 w 278"/>
                <a:gd name="T65" fmla="*/ 400 h 420"/>
                <a:gd name="T66" fmla="*/ 226 w 278"/>
                <a:gd name="T67" fmla="*/ 392 h 420"/>
                <a:gd name="T68" fmla="*/ 226 w 278"/>
                <a:gd name="T69" fmla="*/ 370 h 420"/>
                <a:gd name="T70" fmla="*/ 210 w 278"/>
                <a:gd name="T71" fmla="*/ 390 h 420"/>
                <a:gd name="T72" fmla="*/ 188 w 278"/>
                <a:gd name="T73" fmla="*/ 406 h 420"/>
                <a:gd name="T74" fmla="*/ 161 w 278"/>
                <a:gd name="T75" fmla="*/ 416 h 420"/>
                <a:gd name="T76" fmla="*/ 129 w 278"/>
                <a:gd name="T77" fmla="*/ 420 h 420"/>
                <a:gd name="T78" fmla="*/ 99 w 278"/>
                <a:gd name="T79" fmla="*/ 418 h 420"/>
                <a:gd name="T80" fmla="*/ 73 w 278"/>
                <a:gd name="T81" fmla="*/ 410 h 420"/>
                <a:gd name="T82" fmla="*/ 52 w 278"/>
                <a:gd name="T83" fmla="*/ 396 h 420"/>
                <a:gd name="T84" fmla="*/ 34 w 278"/>
                <a:gd name="T85" fmla="*/ 378 h 420"/>
                <a:gd name="T86" fmla="*/ 20 w 278"/>
                <a:gd name="T87" fmla="*/ 357 h 420"/>
                <a:gd name="T88" fmla="*/ 10 w 278"/>
                <a:gd name="T89" fmla="*/ 331 h 420"/>
                <a:gd name="T90" fmla="*/ 2 w 278"/>
                <a:gd name="T91" fmla="*/ 301 h 420"/>
                <a:gd name="T92" fmla="*/ 0 w 278"/>
                <a:gd name="T93" fmla="*/ 269 h 420"/>
                <a:gd name="T94" fmla="*/ 2 w 278"/>
                <a:gd name="T95" fmla="*/ 236 h 420"/>
                <a:gd name="T96" fmla="*/ 10 w 278"/>
                <a:gd name="T97" fmla="*/ 208 h 420"/>
                <a:gd name="T98" fmla="*/ 20 w 278"/>
                <a:gd name="T99" fmla="*/ 182 h 420"/>
                <a:gd name="T100" fmla="*/ 36 w 278"/>
                <a:gd name="T101" fmla="*/ 160 h 420"/>
                <a:gd name="T102" fmla="*/ 54 w 278"/>
                <a:gd name="T103" fmla="*/ 141 h 420"/>
                <a:gd name="T104" fmla="*/ 77 w 278"/>
                <a:gd name="T105" fmla="*/ 129 h 420"/>
                <a:gd name="T106" fmla="*/ 103 w 278"/>
                <a:gd name="T107" fmla="*/ 119 h 420"/>
                <a:gd name="T108" fmla="*/ 133 w 278"/>
                <a:gd name="T109" fmla="*/ 117 h 420"/>
                <a:gd name="T110" fmla="*/ 163 w 278"/>
                <a:gd name="T111" fmla="*/ 121 h 420"/>
                <a:gd name="T112" fmla="*/ 188 w 278"/>
                <a:gd name="T113" fmla="*/ 129 h 420"/>
                <a:gd name="T114" fmla="*/ 208 w 278"/>
                <a:gd name="T115" fmla="*/ 143 h 420"/>
                <a:gd name="T116" fmla="*/ 226 w 278"/>
                <a:gd name="T117" fmla="*/ 162 h 420"/>
                <a:gd name="T118" fmla="*/ 226 w 278"/>
                <a:gd name="T1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420">
                  <a:moveTo>
                    <a:pt x="141" y="160"/>
                  </a:moveTo>
                  <a:lnTo>
                    <a:pt x="115" y="164"/>
                  </a:lnTo>
                  <a:lnTo>
                    <a:pt x="93" y="174"/>
                  </a:lnTo>
                  <a:lnTo>
                    <a:pt x="77" y="190"/>
                  </a:lnTo>
                  <a:lnTo>
                    <a:pt x="64" y="210"/>
                  </a:lnTo>
                  <a:lnTo>
                    <a:pt x="58" y="238"/>
                  </a:lnTo>
                  <a:lnTo>
                    <a:pt x="54" y="269"/>
                  </a:lnTo>
                  <a:lnTo>
                    <a:pt x="58" y="301"/>
                  </a:lnTo>
                  <a:lnTo>
                    <a:pt x="64" y="327"/>
                  </a:lnTo>
                  <a:lnTo>
                    <a:pt x="77" y="349"/>
                  </a:lnTo>
                  <a:lnTo>
                    <a:pt x="93" y="365"/>
                  </a:lnTo>
                  <a:lnTo>
                    <a:pt x="115" y="372"/>
                  </a:lnTo>
                  <a:lnTo>
                    <a:pt x="141" y="376"/>
                  </a:lnTo>
                  <a:lnTo>
                    <a:pt x="167" y="372"/>
                  </a:lnTo>
                  <a:lnTo>
                    <a:pt x="186" y="363"/>
                  </a:lnTo>
                  <a:lnTo>
                    <a:pt x="204" y="347"/>
                  </a:lnTo>
                  <a:lnTo>
                    <a:pt x="216" y="325"/>
                  </a:lnTo>
                  <a:lnTo>
                    <a:pt x="224" y="299"/>
                  </a:lnTo>
                  <a:lnTo>
                    <a:pt x="226" y="269"/>
                  </a:lnTo>
                  <a:lnTo>
                    <a:pt x="224" y="236"/>
                  </a:lnTo>
                  <a:lnTo>
                    <a:pt x="218" y="210"/>
                  </a:lnTo>
                  <a:lnTo>
                    <a:pt x="204" y="188"/>
                  </a:lnTo>
                  <a:lnTo>
                    <a:pt x="188" y="174"/>
                  </a:lnTo>
                  <a:lnTo>
                    <a:pt x="167" y="164"/>
                  </a:lnTo>
                  <a:lnTo>
                    <a:pt x="141" y="160"/>
                  </a:lnTo>
                  <a:close/>
                  <a:moveTo>
                    <a:pt x="226" y="0"/>
                  </a:moveTo>
                  <a:lnTo>
                    <a:pt x="278" y="0"/>
                  </a:lnTo>
                  <a:lnTo>
                    <a:pt x="278" y="412"/>
                  </a:lnTo>
                  <a:lnTo>
                    <a:pt x="250" y="412"/>
                  </a:lnTo>
                  <a:lnTo>
                    <a:pt x="242" y="412"/>
                  </a:lnTo>
                  <a:lnTo>
                    <a:pt x="236" y="410"/>
                  </a:lnTo>
                  <a:lnTo>
                    <a:pt x="230" y="406"/>
                  </a:lnTo>
                  <a:lnTo>
                    <a:pt x="228" y="400"/>
                  </a:lnTo>
                  <a:lnTo>
                    <a:pt x="226" y="392"/>
                  </a:lnTo>
                  <a:lnTo>
                    <a:pt x="226" y="370"/>
                  </a:lnTo>
                  <a:lnTo>
                    <a:pt x="210" y="390"/>
                  </a:lnTo>
                  <a:lnTo>
                    <a:pt x="188" y="406"/>
                  </a:lnTo>
                  <a:lnTo>
                    <a:pt x="161" y="416"/>
                  </a:lnTo>
                  <a:lnTo>
                    <a:pt x="129" y="420"/>
                  </a:lnTo>
                  <a:lnTo>
                    <a:pt x="99" y="418"/>
                  </a:lnTo>
                  <a:lnTo>
                    <a:pt x="73" y="410"/>
                  </a:lnTo>
                  <a:lnTo>
                    <a:pt x="52" y="396"/>
                  </a:lnTo>
                  <a:lnTo>
                    <a:pt x="34" y="378"/>
                  </a:lnTo>
                  <a:lnTo>
                    <a:pt x="20" y="357"/>
                  </a:lnTo>
                  <a:lnTo>
                    <a:pt x="10" y="331"/>
                  </a:lnTo>
                  <a:lnTo>
                    <a:pt x="2" y="301"/>
                  </a:lnTo>
                  <a:lnTo>
                    <a:pt x="0" y="269"/>
                  </a:lnTo>
                  <a:lnTo>
                    <a:pt x="2" y="236"/>
                  </a:lnTo>
                  <a:lnTo>
                    <a:pt x="10" y="208"/>
                  </a:lnTo>
                  <a:lnTo>
                    <a:pt x="20" y="182"/>
                  </a:lnTo>
                  <a:lnTo>
                    <a:pt x="36" y="160"/>
                  </a:lnTo>
                  <a:lnTo>
                    <a:pt x="54" y="141"/>
                  </a:lnTo>
                  <a:lnTo>
                    <a:pt x="77" y="129"/>
                  </a:lnTo>
                  <a:lnTo>
                    <a:pt x="103" y="119"/>
                  </a:lnTo>
                  <a:lnTo>
                    <a:pt x="133" y="117"/>
                  </a:lnTo>
                  <a:lnTo>
                    <a:pt x="163" y="121"/>
                  </a:lnTo>
                  <a:lnTo>
                    <a:pt x="188" y="129"/>
                  </a:lnTo>
                  <a:lnTo>
                    <a:pt x="208" y="143"/>
                  </a:lnTo>
                  <a:lnTo>
                    <a:pt x="226" y="162"/>
                  </a:lnTo>
                  <a:lnTo>
                    <a:pt x="22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66" name="Freeform 60">
              <a:extLst>
                <a:ext uri="{FF2B5EF4-FFF2-40B4-BE49-F238E27FC236}">
                  <a16:creationId xmlns:a16="http://schemas.microsoft.com/office/drawing/2014/main" id="{298264A8-3DC4-4000-8CB1-15425242F1B7}"/>
                </a:ext>
              </a:extLst>
            </p:cNvPr>
            <p:cNvSpPr>
              <a:spLocks noEditPoints="1"/>
            </p:cNvSpPr>
            <p:nvPr userDrawn="1"/>
          </p:nvSpPr>
          <p:spPr bwMode="auto">
            <a:xfrm>
              <a:off x="3293441" y="1573735"/>
              <a:ext cx="113744" cy="134024"/>
            </a:xfrm>
            <a:custGeom>
              <a:avLst/>
              <a:gdLst>
                <a:gd name="T0" fmla="*/ 139 w 258"/>
                <a:gd name="T1" fmla="*/ 43 h 303"/>
                <a:gd name="T2" fmla="*/ 117 w 258"/>
                <a:gd name="T3" fmla="*/ 45 h 303"/>
                <a:gd name="T4" fmla="*/ 97 w 258"/>
                <a:gd name="T5" fmla="*/ 51 h 303"/>
                <a:gd name="T6" fmla="*/ 81 w 258"/>
                <a:gd name="T7" fmla="*/ 65 h 303"/>
                <a:gd name="T8" fmla="*/ 67 w 258"/>
                <a:gd name="T9" fmla="*/ 81 h 303"/>
                <a:gd name="T10" fmla="*/ 57 w 258"/>
                <a:gd name="T11" fmla="*/ 101 h 303"/>
                <a:gd name="T12" fmla="*/ 54 w 258"/>
                <a:gd name="T13" fmla="*/ 125 h 303"/>
                <a:gd name="T14" fmla="*/ 208 w 258"/>
                <a:gd name="T15" fmla="*/ 125 h 303"/>
                <a:gd name="T16" fmla="*/ 208 w 258"/>
                <a:gd name="T17" fmla="*/ 121 h 303"/>
                <a:gd name="T18" fmla="*/ 206 w 258"/>
                <a:gd name="T19" fmla="*/ 97 h 303"/>
                <a:gd name="T20" fmla="*/ 200 w 258"/>
                <a:gd name="T21" fmla="*/ 77 h 303"/>
                <a:gd name="T22" fmla="*/ 190 w 258"/>
                <a:gd name="T23" fmla="*/ 63 h 303"/>
                <a:gd name="T24" fmla="*/ 176 w 258"/>
                <a:gd name="T25" fmla="*/ 51 h 303"/>
                <a:gd name="T26" fmla="*/ 161 w 258"/>
                <a:gd name="T27" fmla="*/ 45 h 303"/>
                <a:gd name="T28" fmla="*/ 139 w 258"/>
                <a:gd name="T29" fmla="*/ 43 h 303"/>
                <a:gd name="T30" fmla="*/ 139 w 258"/>
                <a:gd name="T31" fmla="*/ 0 h 303"/>
                <a:gd name="T32" fmla="*/ 166 w 258"/>
                <a:gd name="T33" fmla="*/ 2 h 303"/>
                <a:gd name="T34" fmla="*/ 190 w 258"/>
                <a:gd name="T35" fmla="*/ 10 h 303"/>
                <a:gd name="T36" fmla="*/ 210 w 258"/>
                <a:gd name="T37" fmla="*/ 22 h 303"/>
                <a:gd name="T38" fmla="*/ 226 w 258"/>
                <a:gd name="T39" fmla="*/ 35 h 303"/>
                <a:gd name="T40" fmla="*/ 240 w 258"/>
                <a:gd name="T41" fmla="*/ 55 h 303"/>
                <a:gd name="T42" fmla="*/ 250 w 258"/>
                <a:gd name="T43" fmla="*/ 77 h 303"/>
                <a:gd name="T44" fmla="*/ 256 w 258"/>
                <a:gd name="T45" fmla="*/ 103 h 303"/>
                <a:gd name="T46" fmla="*/ 258 w 258"/>
                <a:gd name="T47" fmla="*/ 131 h 303"/>
                <a:gd name="T48" fmla="*/ 254 w 258"/>
                <a:gd name="T49" fmla="*/ 164 h 303"/>
                <a:gd name="T50" fmla="*/ 52 w 258"/>
                <a:gd name="T51" fmla="*/ 164 h 303"/>
                <a:gd name="T52" fmla="*/ 55 w 258"/>
                <a:gd name="T53" fmla="*/ 192 h 303"/>
                <a:gd name="T54" fmla="*/ 65 w 258"/>
                <a:gd name="T55" fmla="*/ 216 h 303"/>
                <a:gd name="T56" fmla="*/ 79 w 258"/>
                <a:gd name="T57" fmla="*/ 236 h 303"/>
                <a:gd name="T58" fmla="*/ 99 w 258"/>
                <a:gd name="T59" fmla="*/ 248 h 303"/>
                <a:gd name="T60" fmla="*/ 123 w 258"/>
                <a:gd name="T61" fmla="*/ 255 h 303"/>
                <a:gd name="T62" fmla="*/ 151 w 258"/>
                <a:gd name="T63" fmla="*/ 259 h 303"/>
                <a:gd name="T64" fmla="*/ 180 w 258"/>
                <a:gd name="T65" fmla="*/ 255 h 303"/>
                <a:gd name="T66" fmla="*/ 204 w 258"/>
                <a:gd name="T67" fmla="*/ 249 h 303"/>
                <a:gd name="T68" fmla="*/ 224 w 258"/>
                <a:gd name="T69" fmla="*/ 236 h 303"/>
                <a:gd name="T70" fmla="*/ 246 w 258"/>
                <a:gd name="T71" fmla="*/ 269 h 303"/>
                <a:gd name="T72" fmla="*/ 226 w 258"/>
                <a:gd name="T73" fmla="*/ 285 h 303"/>
                <a:gd name="T74" fmla="*/ 202 w 258"/>
                <a:gd name="T75" fmla="*/ 295 h 303"/>
                <a:gd name="T76" fmla="*/ 176 w 258"/>
                <a:gd name="T77" fmla="*/ 301 h 303"/>
                <a:gd name="T78" fmla="*/ 147 w 258"/>
                <a:gd name="T79" fmla="*/ 303 h 303"/>
                <a:gd name="T80" fmla="*/ 115 w 258"/>
                <a:gd name="T81" fmla="*/ 301 h 303"/>
                <a:gd name="T82" fmla="*/ 85 w 258"/>
                <a:gd name="T83" fmla="*/ 293 h 303"/>
                <a:gd name="T84" fmla="*/ 61 w 258"/>
                <a:gd name="T85" fmla="*/ 281 h 303"/>
                <a:gd name="T86" fmla="*/ 40 w 258"/>
                <a:gd name="T87" fmla="*/ 263 h 303"/>
                <a:gd name="T88" fmla="*/ 24 w 258"/>
                <a:gd name="T89" fmla="*/ 242 h 303"/>
                <a:gd name="T90" fmla="*/ 10 w 258"/>
                <a:gd name="T91" fmla="*/ 216 h 303"/>
                <a:gd name="T92" fmla="*/ 2 w 258"/>
                <a:gd name="T93" fmla="*/ 184 h 303"/>
                <a:gd name="T94" fmla="*/ 0 w 258"/>
                <a:gd name="T95" fmla="*/ 148 h 303"/>
                <a:gd name="T96" fmla="*/ 2 w 258"/>
                <a:gd name="T97" fmla="*/ 115 h 303"/>
                <a:gd name="T98" fmla="*/ 10 w 258"/>
                <a:gd name="T99" fmla="*/ 85 h 303"/>
                <a:gd name="T100" fmla="*/ 24 w 258"/>
                <a:gd name="T101" fmla="*/ 59 h 303"/>
                <a:gd name="T102" fmla="*/ 40 w 258"/>
                <a:gd name="T103" fmla="*/ 39 h 303"/>
                <a:gd name="T104" fmla="*/ 59 w 258"/>
                <a:gd name="T105" fmla="*/ 22 h 303"/>
                <a:gd name="T106" fmla="*/ 83 w 258"/>
                <a:gd name="T107" fmla="*/ 10 h 303"/>
                <a:gd name="T108" fmla="*/ 109 w 258"/>
                <a:gd name="T109" fmla="*/ 2 h 303"/>
                <a:gd name="T110" fmla="*/ 139 w 258"/>
                <a:gd name="T11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3">
                  <a:moveTo>
                    <a:pt x="139" y="43"/>
                  </a:moveTo>
                  <a:lnTo>
                    <a:pt x="117" y="45"/>
                  </a:lnTo>
                  <a:lnTo>
                    <a:pt x="97" y="51"/>
                  </a:lnTo>
                  <a:lnTo>
                    <a:pt x="81" y="65"/>
                  </a:lnTo>
                  <a:lnTo>
                    <a:pt x="67" y="81"/>
                  </a:lnTo>
                  <a:lnTo>
                    <a:pt x="57" y="101"/>
                  </a:lnTo>
                  <a:lnTo>
                    <a:pt x="54" y="125"/>
                  </a:lnTo>
                  <a:lnTo>
                    <a:pt x="208" y="125"/>
                  </a:lnTo>
                  <a:lnTo>
                    <a:pt x="208" y="121"/>
                  </a:lnTo>
                  <a:lnTo>
                    <a:pt x="206" y="97"/>
                  </a:lnTo>
                  <a:lnTo>
                    <a:pt x="200" y="77"/>
                  </a:lnTo>
                  <a:lnTo>
                    <a:pt x="190" y="63"/>
                  </a:lnTo>
                  <a:lnTo>
                    <a:pt x="176" y="51"/>
                  </a:lnTo>
                  <a:lnTo>
                    <a:pt x="161" y="45"/>
                  </a:lnTo>
                  <a:lnTo>
                    <a:pt x="139" y="43"/>
                  </a:lnTo>
                  <a:close/>
                  <a:moveTo>
                    <a:pt x="139" y="0"/>
                  </a:moveTo>
                  <a:lnTo>
                    <a:pt x="166" y="2"/>
                  </a:lnTo>
                  <a:lnTo>
                    <a:pt x="190" y="10"/>
                  </a:lnTo>
                  <a:lnTo>
                    <a:pt x="210" y="22"/>
                  </a:lnTo>
                  <a:lnTo>
                    <a:pt x="226" y="35"/>
                  </a:lnTo>
                  <a:lnTo>
                    <a:pt x="240" y="55"/>
                  </a:lnTo>
                  <a:lnTo>
                    <a:pt x="250" y="77"/>
                  </a:lnTo>
                  <a:lnTo>
                    <a:pt x="256" y="103"/>
                  </a:lnTo>
                  <a:lnTo>
                    <a:pt x="258" y="131"/>
                  </a:lnTo>
                  <a:lnTo>
                    <a:pt x="254" y="164"/>
                  </a:lnTo>
                  <a:lnTo>
                    <a:pt x="52" y="164"/>
                  </a:lnTo>
                  <a:lnTo>
                    <a:pt x="55" y="192"/>
                  </a:lnTo>
                  <a:lnTo>
                    <a:pt x="65" y="216"/>
                  </a:lnTo>
                  <a:lnTo>
                    <a:pt x="79" y="236"/>
                  </a:lnTo>
                  <a:lnTo>
                    <a:pt x="99" y="248"/>
                  </a:lnTo>
                  <a:lnTo>
                    <a:pt x="123" y="255"/>
                  </a:lnTo>
                  <a:lnTo>
                    <a:pt x="151" y="259"/>
                  </a:lnTo>
                  <a:lnTo>
                    <a:pt x="180" y="255"/>
                  </a:lnTo>
                  <a:lnTo>
                    <a:pt x="204" y="249"/>
                  </a:lnTo>
                  <a:lnTo>
                    <a:pt x="224" y="236"/>
                  </a:lnTo>
                  <a:lnTo>
                    <a:pt x="246" y="269"/>
                  </a:lnTo>
                  <a:lnTo>
                    <a:pt x="226" y="285"/>
                  </a:lnTo>
                  <a:lnTo>
                    <a:pt x="202" y="295"/>
                  </a:lnTo>
                  <a:lnTo>
                    <a:pt x="176" y="301"/>
                  </a:lnTo>
                  <a:lnTo>
                    <a:pt x="147" y="303"/>
                  </a:lnTo>
                  <a:lnTo>
                    <a:pt x="115" y="301"/>
                  </a:lnTo>
                  <a:lnTo>
                    <a:pt x="85" y="293"/>
                  </a:lnTo>
                  <a:lnTo>
                    <a:pt x="61" y="281"/>
                  </a:lnTo>
                  <a:lnTo>
                    <a:pt x="40" y="263"/>
                  </a:lnTo>
                  <a:lnTo>
                    <a:pt x="24" y="242"/>
                  </a:lnTo>
                  <a:lnTo>
                    <a:pt x="10" y="216"/>
                  </a:lnTo>
                  <a:lnTo>
                    <a:pt x="2" y="184"/>
                  </a:lnTo>
                  <a:lnTo>
                    <a:pt x="0" y="148"/>
                  </a:lnTo>
                  <a:lnTo>
                    <a:pt x="2" y="115"/>
                  </a:lnTo>
                  <a:lnTo>
                    <a:pt x="10" y="85"/>
                  </a:lnTo>
                  <a:lnTo>
                    <a:pt x="24" y="59"/>
                  </a:lnTo>
                  <a:lnTo>
                    <a:pt x="40" y="39"/>
                  </a:lnTo>
                  <a:lnTo>
                    <a:pt x="59" y="22"/>
                  </a:lnTo>
                  <a:lnTo>
                    <a:pt x="83" y="10"/>
                  </a:lnTo>
                  <a:lnTo>
                    <a:pt x="109"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grpSp>
    </p:spTree>
    <p:extLst>
      <p:ext uri="{BB962C8B-B14F-4D97-AF65-F5344CB8AC3E}">
        <p14:creationId xmlns:p14="http://schemas.microsoft.com/office/powerpoint/2010/main" val="823161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 dark gradient">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9" name="Title 1">
            <a:extLst>
              <a:ext uri="{FF2B5EF4-FFF2-40B4-BE49-F238E27FC236}">
                <a16:creationId xmlns:a16="http://schemas.microsoft.com/office/drawing/2014/main" id="{A1EB8893-59BD-480A-AA16-455405372E76}"/>
              </a:ext>
            </a:extLst>
          </p:cNvPr>
          <p:cNvSpPr>
            <a:spLocks noGrp="1"/>
          </p:cNvSpPr>
          <p:nvPr>
            <p:ph type="ctrTitle" hasCustomPrompt="1"/>
          </p:nvPr>
        </p:nvSpPr>
        <p:spPr>
          <a:xfrm>
            <a:off x="471951" y="2612139"/>
            <a:ext cx="11248100" cy="898708"/>
          </a:xfrm>
        </p:spPr>
        <p:txBody>
          <a:bodyPr anchor="b" anchorCtr="0">
            <a:spAutoFit/>
          </a:bodyPr>
          <a:lstStyle>
            <a:lvl1pPr algn="l">
              <a:lnSpc>
                <a:spcPct val="70000"/>
              </a:lnSpc>
              <a:defRPr sz="7200" b="0">
                <a:solidFill>
                  <a:schemeClr val="tx1">
                    <a:alpha val="90000"/>
                  </a:schemeClr>
                </a:solidFill>
                <a:latin typeface="+mj-lt"/>
              </a:defRPr>
            </a:lvl1pPr>
          </a:lstStyle>
          <a:p>
            <a:r>
              <a:rPr lang="en-US" dirty="0"/>
              <a:t>Click to edit title</a:t>
            </a:r>
          </a:p>
        </p:txBody>
      </p:sp>
      <p:sp>
        <p:nvSpPr>
          <p:cNvPr id="10" name="Text Placeholder 3">
            <a:extLst>
              <a:ext uri="{FF2B5EF4-FFF2-40B4-BE49-F238E27FC236}">
                <a16:creationId xmlns:a16="http://schemas.microsoft.com/office/drawing/2014/main" id="{252A5FC6-0542-4077-BFAF-F3329AFC2992}"/>
              </a:ext>
            </a:extLst>
          </p:cNvPr>
          <p:cNvSpPr>
            <a:spLocks noGrp="1"/>
          </p:cNvSpPr>
          <p:nvPr>
            <p:ph type="body" sz="quarter" idx="11" hasCustomPrompt="1"/>
          </p:nvPr>
        </p:nvSpPr>
        <p:spPr>
          <a:xfrm>
            <a:off x="471951" y="3510847"/>
            <a:ext cx="11248100" cy="1600439"/>
          </a:xfrm>
        </p:spPr>
        <p:txBody>
          <a:bodyPr>
            <a:spAutoFit/>
          </a:bodyPr>
          <a:lstStyle>
            <a:lvl1pPr>
              <a:spcBef>
                <a:spcPts val="0"/>
              </a:spcBef>
              <a:buClr>
                <a:schemeClr val="accent2"/>
              </a:buClr>
              <a:defRPr sz="2133">
                <a:solidFill>
                  <a:schemeClr val="accent2">
                    <a:lumMod val="40000"/>
                    <a:lumOff val="60000"/>
                  </a:schemeClr>
                </a:solidFill>
              </a:defRPr>
            </a:lvl1pPr>
            <a:lvl2pPr>
              <a:spcBef>
                <a:spcPts val="0"/>
              </a:spcBef>
              <a:buClrTx/>
              <a:defRPr sz="1867">
                <a:solidFill>
                  <a:schemeClr val="accent2">
                    <a:lumMod val="40000"/>
                    <a:lumOff val="60000"/>
                  </a:schemeClr>
                </a:solidFill>
              </a:defRPr>
            </a:lvl2pPr>
            <a:lvl3pPr>
              <a:spcBef>
                <a:spcPts val="0"/>
              </a:spcBef>
              <a:buClrTx/>
              <a:defRPr sz="1867">
                <a:solidFill>
                  <a:schemeClr val="accent2">
                    <a:lumMod val="40000"/>
                    <a:lumOff val="60000"/>
                  </a:schemeClr>
                </a:solidFill>
              </a:defRPr>
            </a:lvl3pPr>
            <a:lvl4pPr>
              <a:spcBef>
                <a:spcPts val="0"/>
              </a:spcBef>
              <a:buClrTx/>
              <a:defRPr sz="1867">
                <a:solidFill>
                  <a:schemeClr val="accent2">
                    <a:lumMod val="40000"/>
                    <a:lumOff val="60000"/>
                  </a:schemeClr>
                </a:solidFill>
              </a:defRPr>
            </a:lvl4pPr>
            <a:lvl5pPr>
              <a:spcBef>
                <a:spcPts val="0"/>
              </a:spcBef>
              <a:buClrTx/>
              <a:defRPr sz="1867">
                <a:solidFill>
                  <a:schemeClr val="accent2">
                    <a:lumMod val="40000"/>
                    <a:lumOff val="60000"/>
                  </a:schemeClr>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7453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Section Header - dark gradient">
    <p:spTree>
      <p:nvGrpSpPr>
        <p:cNvPr id="1" name=""/>
        <p:cNvGrpSpPr/>
        <p:nvPr/>
      </p:nvGrpSpPr>
      <p:grpSpPr>
        <a:xfrm>
          <a:off x="0" y="0"/>
          <a:ext cx="0" cy="0"/>
          <a:chOff x="0" y="0"/>
          <a:chExt cx="0" cy="0"/>
        </a:xfrm>
      </p:grpSpPr>
      <p:sp>
        <p:nvSpPr>
          <p:cNvPr id="5" name="Picture Placeholder 14"/>
          <p:cNvSpPr>
            <a:spLocks noGrp="1"/>
          </p:cNvSpPr>
          <p:nvPr>
            <p:ph type="pic" sz="quarter" idx="12"/>
          </p:nvPr>
        </p:nvSpPr>
        <p:spPr>
          <a:xfrm>
            <a:off x="0" y="0"/>
            <a:ext cx="12192000" cy="3432176"/>
          </a:xfrm>
        </p:spPr>
        <p:txBody>
          <a:bodyPr/>
          <a:lstStyle>
            <a:lvl1pPr>
              <a:defRPr>
                <a:solidFill>
                  <a:schemeClr val="tx1"/>
                </a:solidFill>
              </a:defRPr>
            </a:lvl1pPr>
          </a:lstStyle>
          <a:p>
            <a:endParaRPr lang="en-US" dirty="0"/>
          </a:p>
        </p:txBody>
      </p:sp>
      <p:sp>
        <p:nvSpPr>
          <p:cNvPr id="2" name="Slide Number Placeholder 1"/>
          <p:cNvSpPr>
            <a:spLocks noGrp="1"/>
          </p:cNvSpPr>
          <p:nvPr>
            <p:ph type="sldNum" sz="quarter" idx="13"/>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10" name="Title 1">
            <a:extLst>
              <a:ext uri="{FF2B5EF4-FFF2-40B4-BE49-F238E27FC236}">
                <a16:creationId xmlns:a16="http://schemas.microsoft.com/office/drawing/2014/main" id="{C3AF4C43-4780-4F1B-977B-D7FAED231013}"/>
              </a:ext>
            </a:extLst>
          </p:cNvPr>
          <p:cNvSpPr>
            <a:spLocks noGrp="1"/>
          </p:cNvSpPr>
          <p:nvPr>
            <p:ph type="ctrTitle" hasCustomPrompt="1"/>
          </p:nvPr>
        </p:nvSpPr>
        <p:spPr>
          <a:xfrm>
            <a:off x="471951" y="3544791"/>
            <a:ext cx="11248100" cy="898708"/>
          </a:xfrm>
        </p:spPr>
        <p:txBody>
          <a:bodyPr anchor="t" anchorCtr="0">
            <a:spAutoFit/>
          </a:bodyPr>
          <a:lstStyle>
            <a:lvl1pPr algn="l">
              <a:lnSpc>
                <a:spcPct val="70000"/>
              </a:lnSpc>
              <a:defRPr sz="7200" b="0">
                <a:solidFill>
                  <a:schemeClr val="tx1">
                    <a:alpha val="90000"/>
                  </a:schemeClr>
                </a:solidFill>
                <a:latin typeface="+mj-lt"/>
              </a:defRPr>
            </a:lvl1pPr>
          </a:lstStyle>
          <a:p>
            <a:r>
              <a:rPr lang="en-US" dirty="0"/>
              <a:t>Click to edit title</a:t>
            </a:r>
          </a:p>
        </p:txBody>
      </p:sp>
      <p:sp>
        <p:nvSpPr>
          <p:cNvPr id="11" name="Text Placeholder 3">
            <a:extLst>
              <a:ext uri="{FF2B5EF4-FFF2-40B4-BE49-F238E27FC236}">
                <a16:creationId xmlns:a16="http://schemas.microsoft.com/office/drawing/2014/main" id="{13BBB1B1-BC7A-4B19-B4FB-1985BC79C96E}"/>
              </a:ext>
            </a:extLst>
          </p:cNvPr>
          <p:cNvSpPr>
            <a:spLocks noGrp="1"/>
          </p:cNvSpPr>
          <p:nvPr>
            <p:ph type="body" sz="quarter" idx="11" hasCustomPrompt="1"/>
          </p:nvPr>
        </p:nvSpPr>
        <p:spPr>
          <a:xfrm>
            <a:off x="471951" y="4443499"/>
            <a:ext cx="11248100" cy="1600439"/>
          </a:xfrm>
        </p:spPr>
        <p:txBody>
          <a:bodyPr>
            <a:spAutoFit/>
          </a:bodyPr>
          <a:lstStyle>
            <a:lvl1pPr>
              <a:spcBef>
                <a:spcPts val="0"/>
              </a:spcBef>
              <a:buClr>
                <a:schemeClr val="accent2"/>
              </a:buClr>
              <a:defRPr sz="2133">
                <a:solidFill>
                  <a:schemeClr val="accent2">
                    <a:lumMod val="40000"/>
                    <a:lumOff val="60000"/>
                  </a:schemeClr>
                </a:solidFill>
              </a:defRPr>
            </a:lvl1pPr>
            <a:lvl2pPr>
              <a:spcBef>
                <a:spcPts val="0"/>
              </a:spcBef>
              <a:buClrTx/>
              <a:defRPr sz="1867">
                <a:solidFill>
                  <a:schemeClr val="accent2">
                    <a:lumMod val="40000"/>
                    <a:lumOff val="60000"/>
                  </a:schemeClr>
                </a:solidFill>
              </a:defRPr>
            </a:lvl2pPr>
            <a:lvl3pPr>
              <a:spcBef>
                <a:spcPts val="0"/>
              </a:spcBef>
              <a:buClrTx/>
              <a:defRPr sz="1867">
                <a:solidFill>
                  <a:schemeClr val="accent2">
                    <a:lumMod val="40000"/>
                    <a:lumOff val="60000"/>
                  </a:schemeClr>
                </a:solidFill>
              </a:defRPr>
            </a:lvl3pPr>
            <a:lvl4pPr>
              <a:spcBef>
                <a:spcPts val="0"/>
              </a:spcBef>
              <a:buClrTx/>
              <a:defRPr sz="1867">
                <a:solidFill>
                  <a:schemeClr val="accent2">
                    <a:lumMod val="40000"/>
                    <a:lumOff val="60000"/>
                  </a:schemeClr>
                </a:solidFill>
              </a:defRPr>
            </a:lvl4pPr>
            <a:lvl5pPr>
              <a:spcBef>
                <a:spcPts val="0"/>
              </a:spcBef>
              <a:buClrTx/>
              <a:defRPr sz="1867">
                <a:solidFill>
                  <a:schemeClr val="accent2">
                    <a:lumMod val="40000"/>
                    <a:lumOff val="60000"/>
                  </a:schemeClr>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9425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B8AC8B4-E04E-4356-9AE9-43EE210739E6}"/>
              </a:ext>
            </a:extLst>
          </p:cNvPr>
          <p:cNvSpPr/>
          <p:nvPr userDrawn="1"/>
        </p:nvSpPr>
        <p:spPr>
          <a:xfrm>
            <a:off x="0" y="-6494"/>
            <a:ext cx="12192000" cy="6413837"/>
          </a:xfrm>
          <a:prstGeom prst="rect">
            <a:avLst/>
          </a:prstGeom>
          <a:gradFill flip="none" rotWithShape="1">
            <a:gsLst>
              <a:gs pos="16000">
                <a:srgbClr val="001A32">
                  <a:alpha val="49000"/>
                </a:srgbClr>
              </a:gs>
              <a:gs pos="100000">
                <a:schemeClr val="bg2">
                  <a:alpha val="11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E78C749B-1565-45E0-9AB6-8C55BD578671}"/>
              </a:ext>
            </a:extLst>
          </p:cNvPr>
          <p:cNvGrpSpPr/>
          <p:nvPr userDrawn="1"/>
        </p:nvGrpSpPr>
        <p:grpSpPr>
          <a:xfrm>
            <a:off x="4690113" y="2500173"/>
            <a:ext cx="2811779" cy="1853184"/>
            <a:chOff x="451796" y="386081"/>
            <a:chExt cx="1249194" cy="823318"/>
          </a:xfrm>
        </p:grpSpPr>
        <p:sp>
          <p:nvSpPr>
            <p:cNvPr id="7" name="Freeform 36">
              <a:extLst>
                <a:ext uri="{FF2B5EF4-FFF2-40B4-BE49-F238E27FC236}">
                  <a16:creationId xmlns:a16="http://schemas.microsoft.com/office/drawing/2014/main" id="{696EF3DE-D68F-4999-AA02-A2873E5D2F7E}"/>
                </a:ext>
              </a:extLst>
            </p:cNvPr>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prstClr val="white"/>
                </a:solidFill>
              </a:endParaRPr>
            </a:p>
          </p:txBody>
        </p:sp>
        <p:sp>
          <p:nvSpPr>
            <p:cNvPr id="8" name="Freeform 37">
              <a:extLst>
                <a:ext uri="{FF2B5EF4-FFF2-40B4-BE49-F238E27FC236}">
                  <a16:creationId xmlns:a16="http://schemas.microsoft.com/office/drawing/2014/main" id="{35143B45-D97A-45B2-8FB0-8BF85925E9F8}"/>
                </a:ext>
              </a:extLst>
            </p:cNvPr>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prstClr val="white"/>
                </a:solidFill>
              </a:endParaRPr>
            </a:p>
          </p:txBody>
        </p:sp>
      </p:grpSp>
    </p:spTree>
    <p:extLst>
      <p:ext uri="{BB962C8B-B14F-4D97-AF65-F5344CB8AC3E}">
        <p14:creationId xmlns:p14="http://schemas.microsoft.com/office/powerpoint/2010/main" val="3970498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E35E589-4220-41C8-A01B-BAAA0337A91B}"/>
              </a:ext>
            </a:extLst>
          </p:cNvPr>
          <p:cNvSpPr/>
          <p:nvPr userDrawn="1"/>
        </p:nvSpPr>
        <p:spPr>
          <a:xfrm>
            <a:off x="0" y="0"/>
            <a:ext cx="12192000" cy="6413837"/>
          </a:xfrm>
          <a:prstGeom prst="rect">
            <a:avLst/>
          </a:prstGeom>
          <a:gradFill flip="none" rotWithShape="1">
            <a:gsLst>
              <a:gs pos="16000">
                <a:srgbClr val="001A32">
                  <a:alpha val="49000"/>
                </a:srgbClr>
              </a:gs>
              <a:gs pos="100000">
                <a:schemeClr val="bg2">
                  <a:alpha val="11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Holder 2">
            <a:extLst>
              <a:ext uri="{FF2B5EF4-FFF2-40B4-BE49-F238E27FC236}">
                <a16:creationId xmlns:a16="http://schemas.microsoft.com/office/drawing/2014/main" id="{82ECEDCB-BC22-489B-ACD5-4188D56A6A6C}"/>
              </a:ext>
            </a:extLst>
          </p:cNvPr>
          <p:cNvSpPr>
            <a:spLocks noGrp="1"/>
          </p:cNvSpPr>
          <p:nvPr>
            <p:ph type="ftr" sz="quarter" idx="5"/>
          </p:nvPr>
        </p:nvSpPr>
        <p:spPr>
          <a:xfrm>
            <a:off x="152400" y="152400"/>
            <a:ext cx="0" cy="0"/>
          </a:xfrm>
        </p:spPr>
        <p:txBody>
          <a:bodyPr lIns="0" tIns="0" rIns="0" bIns="0"/>
          <a:lstStyle>
            <a:lvl1pPr>
              <a:defRPr sz="800" b="0" i="0">
                <a:solidFill>
                  <a:schemeClr val="bg1"/>
                </a:solidFill>
                <a:latin typeface="Intel Clear"/>
                <a:cs typeface="Intel Clear"/>
              </a:defRPr>
            </a:lvl1pPr>
          </a:lstStyle>
          <a:p>
            <a:pPr marL="12700">
              <a:lnSpc>
                <a:spcPct val="100000"/>
              </a:lnSpc>
              <a:spcBef>
                <a:spcPts val="100"/>
              </a:spcBef>
            </a:pPr>
            <a:endParaRPr dirty="0"/>
          </a:p>
        </p:txBody>
      </p:sp>
      <p:sp>
        <p:nvSpPr>
          <p:cNvPr id="7" name="Holder 3">
            <a:extLst>
              <a:ext uri="{FF2B5EF4-FFF2-40B4-BE49-F238E27FC236}">
                <a16:creationId xmlns:a16="http://schemas.microsoft.com/office/drawing/2014/main" id="{6A78CA81-FB35-460D-AF92-2DD394C569C2}"/>
              </a:ext>
            </a:extLst>
          </p:cNvPr>
          <p:cNvSpPr>
            <a:spLocks noGrp="1"/>
          </p:cNvSpPr>
          <p:nvPr>
            <p:ph type="dt" sz="half" idx="6"/>
          </p:nvPr>
        </p:nvSpPr>
        <p:spPr>
          <a:xfrm>
            <a:off x="152400" y="152400"/>
            <a:ext cx="0" cy="0"/>
          </a:xfrm>
        </p:spPr>
        <p:txBody>
          <a:bodyPr lIns="0" tIns="0" rIns="0" bIns="0"/>
          <a:lstStyle>
            <a:lvl1pPr algn="l">
              <a:defRPr>
                <a:solidFill>
                  <a:schemeClr val="tx1">
                    <a:tint val="75000"/>
                  </a:schemeClr>
                </a:solidFill>
              </a:defRPr>
            </a:lvl1pPr>
          </a:lstStyle>
          <a:p>
            <a:endParaRPr lang="en-US" dirty="0"/>
          </a:p>
        </p:txBody>
      </p:sp>
    </p:spTree>
    <p:extLst>
      <p:ext uri="{BB962C8B-B14F-4D97-AF65-F5344CB8AC3E}">
        <p14:creationId xmlns:p14="http://schemas.microsoft.com/office/powerpoint/2010/main" val="1785686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797793" y="6553187"/>
            <a:ext cx="170987" cy="164148"/>
          </a:xfrm>
          <a:prstGeom prst="rect">
            <a:avLst/>
          </a:prstGeom>
        </p:spPr>
        <p:txBody>
          <a:bodyPr lIns="0" tIns="0" rIns="0" bIns="0"/>
          <a:lstStyle>
            <a:lvl1pPr>
              <a:defRPr sz="1050" b="0" i="0">
                <a:solidFill>
                  <a:schemeClr val="bg1"/>
                </a:solidFill>
                <a:latin typeface="Intel Clear"/>
                <a:cs typeface="Intel Clear"/>
              </a:defRPr>
            </a:lvl1pPr>
          </a:lstStyle>
          <a:p>
            <a:pPr marL="25400">
              <a:lnSpc>
                <a:spcPct val="100000"/>
              </a:lnSpc>
              <a:spcBef>
                <a:spcPts val="110"/>
              </a:spcBef>
            </a:pPr>
            <a:fld id="{81D60167-4931-47E6-BA6A-407CBD079E47}" type="slidenum">
              <a:rPr spc="10" dirty="0"/>
              <a:t>‹#›</a:t>
            </a:fld>
            <a:endParaRPr spc="10" dirty="0"/>
          </a:p>
        </p:txBody>
      </p:sp>
      <p:sp>
        <p:nvSpPr>
          <p:cNvPr id="5" name="Rectangle 4">
            <a:extLst>
              <a:ext uri="{FF2B5EF4-FFF2-40B4-BE49-F238E27FC236}">
                <a16:creationId xmlns:a16="http://schemas.microsoft.com/office/drawing/2014/main" id="{BE35E589-4220-41C8-A01B-BAAA0337A91B}"/>
              </a:ext>
            </a:extLst>
          </p:cNvPr>
          <p:cNvSpPr/>
          <p:nvPr userDrawn="1"/>
        </p:nvSpPr>
        <p:spPr>
          <a:xfrm>
            <a:off x="0" y="-6494"/>
            <a:ext cx="12192000" cy="6413837"/>
          </a:xfrm>
          <a:prstGeom prst="rect">
            <a:avLst/>
          </a:prstGeom>
          <a:gradFill flip="none" rotWithShape="1">
            <a:gsLst>
              <a:gs pos="16000">
                <a:srgbClr val="001A32">
                  <a:alpha val="49000"/>
                </a:srgbClr>
              </a:gs>
              <a:gs pos="100000">
                <a:schemeClr val="bg2">
                  <a:alpha val="11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older 2">
            <a:extLst>
              <a:ext uri="{FF2B5EF4-FFF2-40B4-BE49-F238E27FC236}">
                <a16:creationId xmlns:a16="http://schemas.microsoft.com/office/drawing/2014/main" id="{82ECEDCB-BC22-489B-ACD5-4188D56A6A6C}"/>
              </a:ext>
            </a:extLst>
          </p:cNvPr>
          <p:cNvSpPr>
            <a:spLocks noGrp="1"/>
          </p:cNvSpPr>
          <p:nvPr>
            <p:ph type="ftr" sz="quarter" idx="5"/>
          </p:nvPr>
        </p:nvSpPr>
        <p:spPr>
          <a:xfrm>
            <a:off x="152400" y="152400"/>
            <a:ext cx="0" cy="0"/>
          </a:xfrm>
        </p:spPr>
        <p:txBody>
          <a:bodyPr lIns="0" tIns="0" rIns="0" bIns="0"/>
          <a:lstStyle>
            <a:lvl1pPr>
              <a:defRPr sz="800" b="0" i="0">
                <a:solidFill>
                  <a:schemeClr val="bg1"/>
                </a:solidFill>
                <a:latin typeface="Intel Clear"/>
                <a:cs typeface="Intel Clear"/>
              </a:defRPr>
            </a:lvl1pPr>
          </a:lstStyle>
          <a:p>
            <a:pPr marL="12700">
              <a:lnSpc>
                <a:spcPct val="100000"/>
              </a:lnSpc>
              <a:spcBef>
                <a:spcPts val="100"/>
              </a:spcBef>
            </a:pPr>
            <a:r>
              <a:rPr spc="-5" dirty="0"/>
              <a:t>Internet </a:t>
            </a:r>
            <a:r>
              <a:rPr dirty="0"/>
              <a:t>of </a:t>
            </a:r>
            <a:r>
              <a:rPr spc="-5" dirty="0"/>
              <a:t>Things</a:t>
            </a:r>
            <a:r>
              <a:rPr spc="-30" dirty="0"/>
              <a:t> </a:t>
            </a:r>
            <a:r>
              <a:rPr dirty="0"/>
              <a:t>Group</a:t>
            </a:r>
          </a:p>
        </p:txBody>
      </p:sp>
      <p:sp>
        <p:nvSpPr>
          <p:cNvPr id="7" name="Holder 3">
            <a:extLst>
              <a:ext uri="{FF2B5EF4-FFF2-40B4-BE49-F238E27FC236}">
                <a16:creationId xmlns:a16="http://schemas.microsoft.com/office/drawing/2014/main" id="{6A78CA81-FB35-460D-AF92-2DD394C569C2}"/>
              </a:ext>
            </a:extLst>
          </p:cNvPr>
          <p:cNvSpPr>
            <a:spLocks noGrp="1"/>
          </p:cNvSpPr>
          <p:nvPr>
            <p:ph type="dt" sz="half" idx="6"/>
          </p:nvPr>
        </p:nvSpPr>
        <p:spPr>
          <a:xfrm>
            <a:off x="152400" y="152400"/>
            <a:ext cx="0" cy="0"/>
          </a:xfrm>
        </p:spPr>
        <p:txBody>
          <a:bodyPr lIns="0" tIns="0" rIns="0" bIns="0"/>
          <a:lstStyle>
            <a:lvl1pPr algn="l">
              <a:defRPr>
                <a:solidFill>
                  <a:schemeClr val="tx1">
                    <a:tint val="75000"/>
                  </a:schemeClr>
                </a:solidFill>
              </a:defRPr>
            </a:lvl1pPr>
          </a:lstStyle>
          <a:p>
            <a:fld id="{1D8BD707-D9CF-40AE-B4C6-C98DA3205C09}" type="datetimeFigureOut">
              <a:rPr lang="en-US"/>
              <a:t>8/19/2020</a:t>
            </a:fld>
            <a:endParaRPr lang="en-US"/>
          </a:p>
        </p:txBody>
      </p:sp>
    </p:spTree>
    <p:extLst>
      <p:ext uri="{BB962C8B-B14F-4D97-AF65-F5344CB8AC3E}">
        <p14:creationId xmlns:p14="http://schemas.microsoft.com/office/powerpoint/2010/main" val="32662730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547025-F53C-4CCF-8E24-903BE13588B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B547025-F53C-4CCF-8E24-903BE13588B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1306176" y="6486512"/>
            <a:ext cx="672130" cy="165350"/>
          </a:xfrm>
          <a:prstGeom prst="rect">
            <a:avLst/>
          </a:prstGeom>
        </p:spPr>
        <p:txBody>
          <a:bodyPr/>
          <a:lstStyle>
            <a:lvl1pPr algn="ctr">
              <a:defRPr sz="1100"/>
            </a:lvl1pPr>
          </a:lstStyle>
          <a:p>
            <a:fld id="{386B2B06-9E54-432F-B86F-9D235D0C38B9}" type="slidenum">
              <a:rPr lang="en-US" smtClean="0"/>
              <a:pPr/>
              <a:t>‹#›</a:t>
            </a:fld>
            <a:endParaRPr lang="en-US" dirty="0"/>
          </a:p>
        </p:txBody>
      </p:sp>
      <p:sp>
        <p:nvSpPr>
          <p:cNvPr id="6" name="TextBox 5">
            <a:extLst>
              <a:ext uri="{FF2B5EF4-FFF2-40B4-BE49-F238E27FC236}">
                <a16:creationId xmlns:a16="http://schemas.microsoft.com/office/drawing/2014/main" id="{9BFF7489-595A-46DD-927D-7B981DAE758B}"/>
              </a:ext>
            </a:extLst>
          </p:cNvPr>
          <p:cNvSpPr txBox="1"/>
          <p:nvPr userDrawn="1"/>
        </p:nvSpPr>
        <p:spPr>
          <a:xfrm>
            <a:off x="471952" y="6407343"/>
            <a:ext cx="4152613" cy="320841"/>
          </a:xfrm>
          <a:prstGeom prst="rect">
            <a:avLst/>
          </a:prstGeom>
          <a:noFill/>
        </p:spPr>
        <p:txBody>
          <a:bodyPr vert="horz" wrap="square" lIns="0" tIns="0" rIns="0" bIns="0" rtlCol="0" anchor="ctr">
            <a:noAutofit/>
          </a:bodyPr>
          <a:lstStyle/>
          <a:p>
            <a:pPr marL="0" marR="0" indent="0" algn="l" defTabSz="609585" rtl="0" eaLnBrk="1" fontAlgn="auto" latinLnBrk="0" hangingPunct="1">
              <a:lnSpc>
                <a:spcPct val="100000"/>
              </a:lnSpc>
              <a:spcBef>
                <a:spcPts val="0"/>
              </a:spcBef>
              <a:spcAft>
                <a:spcPts val="0"/>
              </a:spcAft>
              <a:buClrTx/>
              <a:buSzTx/>
              <a:buFontTx/>
              <a:buNone/>
              <a:tabLst/>
              <a:defRPr/>
            </a:pPr>
            <a:r>
              <a:rPr lang="sv-SE" sz="1100" dirty="0">
                <a:solidFill>
                  <a:schemeClr val="tx1"/>
                </a:solidFill>
              </a:rPr>
              <a:t>Intel® Neural Compute Stick 2</a:t>
            </a:r>
            <a:endParaRPr lang="en-US" sz="1100" dirty="0">
              <a:solidFill>
                <a:schemeClr val="tx1"/>
              </a:solidFill>
            </a:endParaRPr>
          </a:p>
        </p:txBody>
      </p:sp>
      <p:sp>
        <p:nvSpPr>
          <p:cNvPr id="7" name="Rectangle 6">
            <a:extLst>
              <a:ext uri="{FF2B5EF4-FFF2-40B4-BE49-F238E27FC236}">
                <a16:creationId xmlns:a16="http://schemas.microsoft.com/office/drawing/2014/main" id="{DD5D300C-0761-4B9E-B136-67C01AE32957}"/>
              </a:ext>
            </a:extLst>
          </p:cNvPr>
          <p:cNvSpPr/>
          <p:nvPr userDrawn="1"/>
        </p:nvSpPr>
        <p:spPr>
          <a:xfrm>
            <a:off x="0" y="-6494"/>
            <a:ext cx="12192000" cy="6413837"/>
          </a:xfrm>
          <a:prstGeom prst="rect">
            <a:avLst/>
          </a:prstGeom>
          <a:gradFill flip="none" rotWithShape="1">
            <a:gsLst>
              <a:gs pos="16000">
                <a:srgbClr val="001A32">
                  <a:alpha val="49000"/>
                </a:srgbClr>
              </a:gs>
              <a:gs pos="100000">
                <a:schemeClr val="bg2">
                  <a:alpha val="11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172425DF-4E2F-45CE-8A85-4258CE72F18C}"/>
              </a:ext>
            </a:extLst>
          </p:cNvPr>
          <p:cNvSpPr>
            <a:spLocks noGrp="1"/>
          </p:cNvSpPr>
          <p:nvPr>
            <p:ph type="title"/>
          </p:nvPr>
        </p:nvSpPr>
        <p:spPr>
          <a:xfrm>
            <a:off x="471952" y="304700"/>
            <a:ext cx="11248101" cy="769441"/>
          </a:xfrm>
        </p:spPr>
        <p:txBody>
          <a:bodyPr/>
          <a:lstStyle/>
          <a:p>
            <a:r>
              <a:rPr lang="en-US"/>
              <a:t>Click to edit Master title style</a:t>
            </a:r>
          </a:p>
        </p:txBody>
      </p:sp>
      <p:sp>
        <p:nvSpPr>
          <p:cNvPr id="2" name="TextBox 1"/>
          <p:cNvSpPr txBox="1"/>
          <p:nvPr userDrawn="1"/>
        </p:nvSpPr>
        <p:spPr>
          <a:xfrm>
            <a:off x="4299204" y="6436958"/>
            <a:ext cx="3593592" cy="261610"/>
          </a:xfrm>
          <a:prstGeom prst="rect">
            <a:avLst/>
          </a:prstGeom>
          <a:noFill/>
        </p:spPr>
        <p:txBody>
          <a:bodyPr wrap="square" rtlCol="0">
            <a:spAutoFit/>
          </a:bodyPr>
          <a:lstStyle/>
          <a:p>
            <a:pPr algn="ctr"/>
            <a:r>
              <a:rPr lang="en-US" sz="1100" dirty="0">
                <a:solidFill>
                  <a:schemeClr val="tx1"/>
                </a:solidFill>
                <a:latin typeface="+mn-lt"/>
              </a:rPr>
              <a:t>FOR EXTERNAL USE</a:t>
            </a:r>
          </a:p>
        </p:txBody>
      </p:sp>
    </p:spTree>
    <p:extLst>
      <p:ext uri="{BB962C8B-B14F-4D97-AF65-F5344CB8AC3E}">
        <p14:creationId xmlns:p14="http://schemas.microsoft.com/office/powerpoint/2010/main" val="255697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547025-F53C-4CCF-8E24-903BE13588B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B547025-F53C-4CCF-8E24-903BE13588B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1306176" y="6486512"/>
            <a:ext cx="672130" cy="165350"/>
          </a:xfrm>
          <a:prstGeom prst="rect">
            <a:avLst/>
          </a:prstGeom>
        </p:spPr>
        <p:txBody>
          <a:bodyPr/>
          <a:lstStyle>
            <a:lvl1pPr algn="ctr">
              <a:defRPr sz="1100"/>
            </a:lvl1pPr>
          </a:lstStyle>
          <a:p>
            <a:fld id="{386B2B06-9E54-432F-B86F-9D235D0C38B9}" type="slidenum">
              <a:rPr lang="en-US" smtClean="0"/>
              <a:pPr/>
              <a:t>‹#›</a:t>
            </a:fld>
            <a:endParaRPr lang="en-US" dirty="0"/>
          </a:p>
        </p:txBody>
      </p:sp>
      <p:sp>
        <p:nvSpPr>
          <p:cNvPr id="6" name="TextBox 5">
            <a:extLst>
              <a:ext uri="{FF2B5EF4-FFF2-40B4-BE49-F238E27FC236}">
                <a16:creationId xmlns:a16="http://schemas.microsoft.com/office/drawing/2014/main" id="{9BFF7489-595A-46DD-927D-7B981DAE758B}"/>
              </a:ext>
            </a:extLst>
          </p:cNvPr>
          <p:cNvSpPr txBox="1"/>
          <p:nvPr userDrawn="1"/>
        </p:nvSpPr>
        <p:spPr>
          <a:xfrm>
            <a:off x="471952" y="6407343"/>
            <a:ext cx="4152613" cy="320841"/>
          </a:xfrm>
          <a:prstGeom prst="rect">
            <a:avLst/>
          </a:prstGeom>
          <a:noFill/>
        </p:spPr>
        <p:txBody>
          <a:bodyPr vert="horz" wrap="square" lIns="0" tIns="0" rIns="0" bIns="0" rtlCol="0" anchor="ctr">
            <a:noAutofit/>
          </a:bodyPr>
          <a:lstStyle/>
          <a:p>
            <a:pPr marL="0" marR="0" indent="0" algn="l" defTabSz="609585" rtl="0" eaLnBrk="1" fontAlgn="auto" latinLnBrk="0" hangingPunct="1">
              <a:lnSpc>
                <a:spcPct val="100000"/>
              </a:lnSpc>
              <a:spcBef>
                <a:spcPts val="0"/>
              </a:spcBef>
              <a:spcAft>
                <a:spcPts val="0"/>
              </a:spcAft>
              <a:buClrTx/>
              <a:buSzTx/>
              <a:buFontTx/>
              <a:buNone/>
              <a:tabLst/>
              <a:defRPr/>
            </a:pPr>
            <a:r>
              <a:rPr lang="sv-SE" sz="1100" dirty="0">
                <a:solidFill>
                  <a:schemeClr val="tx1"/>
                </a:solidFill>
              </a:rPr>
              <a:t>Intel® Neural Compute Stick 2</a:t>
            </a:r>
            <a:endParaRPr lang="en-US" sz="1100" dirty="0">
              <a:solidFill>
                <a:schemeClr val="tx1"/>
              </a:solidFill>
            </a:endParaRPr>
          </a:p>
        </p:txBody>
      </p:sp>
      <p:sp>
        <p:nvSpPr>
          <p:cNvPr id="7" name="TextBox 6"/>
          <p:cNvSpPr txBox="1"/>
          <p:nvPr userDrawn="1"/>
        </p:nvSpPr>
        <p:spPr>
          <a:xfrm>
            <a:off x="4299204" y="6436958"/>
            <a:ext cx="3593592" cy="261610"/>
          </a:xfrm>
          <a:prstGeom prst="rect">
            <a:avLst/>
          </a:prstGeom>
          <a:noFill/>
        </p:spPr>
        <p:txBody>
          <a:bodyPr wrap="square" rtlCol="0">
            <a:spAutoFit/>
          </a:bodyPr>
          <a:lstStyle/>
          <a:p>
            <a:pPr algn="ctr"/>
            <a:r>
              <a:rPr lang="en-US" sz="1100" dirty="0">
                <a:solidFill>
                  <a:schemeClr val="tx1"/>
                </a:solidFill>
                <a:latin typeface="+mn-lt"/>
              </a:rPr>
              <a:t>www.intel.com/ncs</a:t>
            </a:r>
          </a:p>
        </p:txBody>
      </p:sp>
    </p:spTree>
    <p:extLst>
      <p:ext uri="{BB962C8B-B14F-4D97-AF65-F5344CB8AC3E}">
        <p14:creationId xmlns:p14="http://schemas.microsoft.com/office/powerpoint/2010/main" val="422857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 dark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
        <p:nvSpPr>
          <p:cNvPr id="3" name="Content Placeholder 2"/>
          <p:cNvSpPr>
            <a:spLocks noGrp="1"/>
          </p:cNvSpPr>
          <p:nvPr>
            <p:ph idx="1" hasCustomPrompt="1"/>
          </p:nvPr>
        </p:nvSpPr>
        <p:spPr>
          <a:xfrm>
            <a:off x="471952" y="1558458"/>
            <a:ext cx="11248101" cy="4284985"/>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
        <p:nvSpPr>
          <p:cNvPr id="4" name="Slide Number Placeholder 3"/>
          <p:cNvSpPr>
            <a:spLocks noGrp="1"/>
          </p:cNvSpPr>
          <p:nvPr>
            <p:ph type="sldNum" sz="quarter" idx="14"/>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Tree>
    <p:extLst>
      <p:ext uri="{BB962C8B-B14F-4D97-AF65-F5344CB8AC3E}">
        <p14:creationId xmlns:p14="http://schemas.microsoft.com/office/powerpoint/2010/main" val="933291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wo Columns - dark gradient">
    <p:spTree>
      <p:nvGrpSpPr>
        <p:cNvPr id="1" name=""/>
        <p:cNvGrpSpPr/>
        <p:nvPr/>
      </p:nvGrpSpPr>
      <p:grpSpPr>
        <a:xfrm>
          <a:off x="0" y="0"/>
          <a:ext cx="0" cy="0"/>
          <a:chOff x="0" y="0"/>
          <a:chExt cx="0" cy="0"/>
        </a:xfrm>
      </p:grpSpPr>
      <p:sp>
        <p:nvSpPr>
          <p:cNvPr id="8" name="Content Placeholder 2"/>
          <p:cNvSpPr>
            <a:spLocks noGrp="1"/>
          </p:cNvSpPr>
          <p:nvPr>
            <p:ph idx="14" hasCustomPrompt="1"/>
          </p:nvPr>
        </p:nvSpPr>
        <p:spPr>
          <a:xfrm>
            <a:off x="471949" y="1558456"/>
            <a:ext cx="552245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hasCustomPrompt="1"/>
          </p:nvPr>
        </p:nvSpPr>
        <p:spPr>
          <a:xfrm>
            <a:off x="6197601" y="1558456"/>
            <a:ext cx="552245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
        <p:nvSpPr>
          <p:cNvPr id="3" name="Slide Number Placeholder 2"/>
          <p:cNvSpPr>
            <a:spLocks noGrp="1"/>
          </p:cNvSpPr>
          <p:nvPr>
            <p:ph type="sldNum" sz="quarter" idx="16"/>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4" name="Title 3"/>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Tree>
    <p:extLst>
      <p:ext uri="{BB962C8B-B14F-4D97-AF65-F5344CB8AC3E}">
        <p14:creationId xmlns:p14="http://schemas.microsoft.com/office/powerpoint/2010/main" val="3018816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B6989-1AF7-4117-864D-BE701A3EBA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300E8F-1368-4381-9B28-FB9C70294C9B}"/>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4" name="Footer Placeholder 3">
            <a:extLst>
              <a:ext uri="{FF2B5EF4-FFF2-40B4-BE49-F238E27FC236}">
                <a16:creationId xmlns:a16="http://schemas.microsoft.com/office/drawing/2014/main" id="{954364E5-0D16-42BE-9226-E9CA0A687FA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4A4811D-990C-4182-8796-697A3386264A}"/>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6099874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Columns - dark gradient">
    <p:spTree>
      <p:nvGrpSpPr>
        <p:cNvPr id="1" name=""/>
        <p:cNvGrpSpPr/>
        <p:nvPr/>
      </p:nvGrpSpPr>
      <p:grpSpPr>
        <a:xfrm>
          <a:off x="0" y="0"/>
          <a:ext cx="0" cy="0"/>
          <a:chOff x="0" y="0"/>
          <a:chExt cx="0" cy="0"/>
        </a:xfrm>
      </p:grpSpPr>
      <p:sp>
        <p:nvSpPr>
          <p:cNvPr id="8" name="Content Placeholder 2"/>
          <p:cNvSpPr>
            <a:spLocks noGrp="1"/>
          </p:cNvSpPr>
          <p:nvPr>
            <p:ph idx="14" hasCustomPrompt="1"/>
          </p:nvPr>
        </p:nvSpPr>
        <p:spPr>
          <a:xfrm>
            <a:off x="471949"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hasCustomPrompt="1"/>
          </p:nvPr>
        </p:nvSpPr>
        <p:spPr>
          <a:xfrm>
            <a:off x="4289817"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6" hasCustomPrompt="1"/>
          </p:nvPr>
        </p:nvSpPr>
        <p:spPr>
          <a:xfrm>
            <a:off x="8107681" y="1558456"/>
            <a:ext cx="3612371" cy="4280248"/>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a:xfrm>
            <a:off x="471952" y="6191832"/>
            <a:ext cx="11248101" cy="215508"/>
          </a:xfrm>
        </p:spPr>
        <p:txBody>
          <a:bodyPr wrap="square" anchor="b" anchorCtr="0">
            <a:spAutoFit/>
          </a:bodyPr>
          <a:lstStyle>
            <a:lvl1pPr marL="0" indent="0">
              <a:lnSpc>
                <a:spcPct val="75000"/>
              </a:lnSpc>
              <a:spcBef>
                <a:spcPts val="0"/>
              </a:spcBef>
              <a:buFont typeface="Arial" pitchFamily="34" charset="0"/>
              <a:buNone/>
              <a:defRPr sz="1067">
                <a:solidFill>
                  <a:schemeClr val="tx1">
                    <a:lumMod val="75000"/>
                  </a:schemeClr>
                </a:solidFill>
                <a:latin typeface="+mn-lt"/>
              </a:defRPr>
            </a:lvl1pPr>
            <a:lvl2pPr marL="228584" indent="-152388">
              <a:defRPr sz="1200"/>
            </a:lvl2pPr>
            <a:lvl3pPr marL="457167" indent="-152388">
              <a:defRPr sz="1200"/>
            </a:lvl3pPr>
            <a:lvl4pPr marL="685750" indent="-152388">
              <a:defRPr sz="1200"/>
            </a:lvl4pPr>
            <a:lvl5pPr marL="914332" indent="-152388">
              <a:defRPr sz="1200"/>
            </a:lvl5pPr>
          </a:lstStyle>
          <a:p>
            <a:pPr lvl="0"/>
            <a:r>
              <a:rPr lang="en-US" dirty="0"/>
              <a:t>Click to edit footnote</a:t>
            </a:r>
          </a:p>
        </p:txBody>
      </p:sp>
      <p:sp>
        <p:nvSpPr>
          <p:cNvPr id="3" name="Slide Number Placeholder 2"/>
          <p:cNvSpPr>
            <a:spLocks noGrp="1"/>
          </p:cNvSpPr>
          <p:nvPr>
            <p:ph type="sldNum" sz="quarter" idx="17"/>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
        <p:nvSpPr>
          <p:cNvPr id="4" name="Title 3"/>
          <p:cNvSpPr>
            <a:spLocks noGrp="1"/>
          </p:cNvSpPr>
          <p:nvPr>
            <p:ph type="title" hasCustomPrompt="1"/>
          </p:nvPr>
        </p:nvSpPr>
        <p:spPr/>
        <p:txBody>
          <a:bodyPr/>
          <a:lstStyle>
            <a:lvl1pPr>
              <a:defRPr>
                <a:solidFill>
                  <a:schemeClr val="tx1">
                    <a:alpha val="90000"/>
                  </a:schemeClr>
                </a:solidFill>
              </a:defRPr>
            </a:lvl1pPr>
          </a:lstStyle>
          <a:p>
            <a:r>
              <a:rPr lang="en-US" dirty="0"/>
              <a:t>Click to edit title</a:t>
            </a:r>
          </a:p>
        </p:txBody>
      </p:sp>
    </p:spTree>
    <p:extLst>
      <p:ext uri="{BB962C8B-B14F-4D97-AF65-F5344CB8AC3E}">
        <p14:creationId xmlns:p14="http://schemas.microsoft.com/office/powerpoint/2010/main" val="3881835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Blank - dark gradient">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grpSp>
        <p:nvGrpSpPr>
          <p:cNvPr id="14" name="Group 13">
            <a:extLst>
              <a:ext uri="{FF2B5EF4-FFF2-40B4-BE49-F238E27FC236}">
                <a16:creationId xmlns:a16="http://schemas.microsoft.com/office/drawing/2014/main" id="{A8BE2DB3-36F5-4B35-9B85-2D7CDE44F174}"/>
              </a:ext>
            </a:extLst>
          </p:cNvPr>
          <p:cNvGrpSpPr/>
          <p:nvPr userDrawn="1"/>
        </p:nvGrpSpPr>
        <p:grpSpPr>
          <a:xfrm>
            <a:off x="602395" y="514776"/>
            <a:ext cx="2875329" cy="1192983"/>
            <a:chOff x="602395" y="514776"/>
            <a:chExt cx="2875329" cy="1192983"/>
          </a:xfrm>
        </p:grpSpPr>
        <p:sp>
          <p:nvSpPr>
            <p:cNvPr id="15" name="Freeform 36">
              <a:extLst>
                <a:ext uri="{FF2B5EF4-FFF2-40B4-BE49-F238E27FC236}">
                  <a16:creationId xmlns:a16="http://schemas.microsoft.com/office/drawing/2014/main" id="{1CA687B9-3882-4641-952A-9D02B196E53F}"/>
                </a:ext>
              </a:extLst>
            </p:cNvPr>
            <p:cNvSpPr>
              <a:spLocks noEditPoints="1"/>
            </p:cNvSpPr>
            <p:nvPr userDrawn="1"/>
          </p:nvSpPr>
          <p:spPr bwMode="auto">
            <a:xfrm>
              <a:off x="602395" y="514776"/>
              <a:ext cx="1665592" cy="1097757"/>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16" name="Freeform 37">
              <a:extLst>
                <a:ext uri="{FF2B5EF4-FFF2-40B4-BE49-F238E27FC236}">
                  <a16:creationId xmlns:a16="http://schemas.microsoft.com/office/drawing/2014/main" id="{E3BB3878-D0CC-4521-B75C-50CEFE3D6FF4}"/>
                </a:ext>
              </a:extLst>
            </p:cNvPr>
            <p:cNvSpPr>
              <a:spLocks noEditPoints="1"/>
            </p:cNvSpPr>
            <p:nvPr userDrawn="1"/>
          </p:nvSpPr>
          <p:spPr bwMode="auto">
            <a:xfrm>
              <a:off x="2017578" y="770481"/>
              <a:ext cx="69657" cy="68775"/>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17" name="Freeform 38">
              <a:extLst>
                <a:ext uri="{FF2B5EF4-FFF2-40B4-BE49-F238E27FC236}">
                  <a16:creationId xmlns:a16="http://schemas.microsoft.com/office/drawing/2014/main" id="{D805F8B9-ABFF-4EFC-8F42-9310C554874A}"/>
                </a:ext>
              </a:extLst>
            </p:cNvPr>
            <p:cNvSpPr>
              <a:spLocks noEditPoints="1"/>
            </p:cNvSpPr>
            <p:nvPr userDrawn="1"/>
          </p:nvSpPr>
          <p:spPr bwMode="auto">
            <a:xfrm>
              <a:off x="3407185" y="1533177"/>
              <a:ext cx="70539" cy="34387"/>
            </a:xfrm>
            <a:custGeom>
              <a:avLst/>
              <a:gdLst>
                <a:gd name="T0" fmla="*/ 83 w 160"/>
                <a:gd name="T1" fmla="*/ 0 h 79"/>
                <a:gd name="T2" fmla="*/ 97 w 160"/>
                <a:gd name="T3" fmla="*/ 0 h 79"/>
                <a:gd name="T4" fmla="*/ 123 w 160"/>
                <a:gd name="T5" fmla="*/ 45 h 79"/>
                <a:gd name="T6" fmla="*/ 146 w 160"/>
                <a:gd name="T7" fmla="*/ 0 h 79"/>
                <a:gd name="T8" fmla="*/ 160 w 160"/>
                <a:gd name="T9" fmla="*/ 0 h 79"/>
                <a:gd name="T10" fmla="*/ 160 w 160"/>
                <a:gd name="T11" fmla="*/ 79 h 79"/>
                <a:gd name="T12" fmla="*/ 146 w 160"/>
                <a:gd name="T13" fmla="*/ 79 h 79"/>
                <a:gd name="T14" fmla="*/ 146 w 160"/>
                <a:gd name="T15" fmla="*/ 25 h 79"/>
                <a:gd name="T16" fmla="*/ 128 w 160"/>
                <a:gd name="T17" fmla="*/ 59 h 79"/>
                <a:gd name="T18" fmla="*/ 115 w 160"/>
                <a:gd name="T19" fmla="*/ 59 h 79"/>
                <a:gd name="T20" fmla="*/ 97 w 160"/>
                <a:gd name="T21" fmla="*/ 25 h 79"/>
                <a:gd name="T22" fmla="*/ 97 w 160"/>
                <a:gd name="T23" fmla="*/ 79 h 79"/>
                <a:gd name="T24" fmla="*/ 83 w 160"/>
                <a:gd name="T25" fmla="*/ 79 h 79"/>
                <a:gd name="T26" fmla="*/ 83 w 160"/>
                <a:gd name="T27" fmla="*/ 0 h 79"/>
                <a:gd name="T28" fmla="*/ 0 w 160"/>
                <a:gd name="T29" fmla="*/ 0 h 79"/>
                <a:gd name="T30" fmla="*/ 69 w 160"/>
                <a:gd name="T31" fmla="*/ 0 h 79"/>
                <a:gd name="T32" fmla="*/ 69 w 160"/>
                <a:gd name="T33" fmla="*/ 14 h 79"/>
                <a:gd name="T34" fmla="*/ 41 w 160"/>
                <a:gd name="T35" fmla="*/ 14 h 79"/>
                <a:gd name="T36" fmla="*/ 41 w 160"/>
                <a:gd name="T37" fmla="*/ 79 h 79"/>
                <a:gd name="T38" fmla="*/ 27 w 160"/>
                <a:gd name="T39" fmla="*/ 79 h 79"/>
                <a:gd name="T40" fmla="*/ 27 w 160"/>
                <a:gd name="T41" fmla="*/ 14 h 79"/>
                <a:gd name="T42" fmla="*/ 0 w 160"/>
                <a:gd name="T43" fmla="*/ 14 h 79"/>
                <a:gd name="T44" fmla="*/ 0 w 160"/>
                <a:gd name="T4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79">
                  <a:moveTo>
                    <a:pt x="83" y="0"/>
                  </a:moveTo>
                  <a:lnTo>
                    <a:pt x="97" y="0"/>
                  </a:lnTo>
                  <a:lnTo>
                    <a:pt x="123" y="45"/>
                  </a:lnTo>
                  <a:lnTo>
                    <a:pt x="146" y="0"/>
                  </a:lnTo>
                  <a:lnTo>
                    <a:pt x="160" y="0"/>
                  </a:lnTo>
                  <a:lnTo>
                    <a:pt x="160" y="79"/>
                  </a:lnTo>
                  <a:lnTo>
                    <a:pt x="146" y="79"/>
                  </a:lnTo>
                  <a:lnTo>
                    <a:pt x="146" y="25"/>
                  </a:lnTo>
                  <a:lnTo>
                    <a:pt x="128" y="59"/>
                  </a:lnTo>
                  <a:lnTo>
                    <a:pt x="115" y="59"/>
                  </a:lnTo>
                  <a:lnTo>
                    <a:pt x="97" y="25"/>
                  </a:lnTo>
                  <a:lnTo>
                    <a:pt x="97" y="79"/>
                  </a:lnTo>
                  <a:lnTo>
                    <a:pt x="83" y="79"/>
                  </a:lnTo>
                  <a:lnTo>
                    <a:pt x="83" y="0"/>
                  </a:lnTo>
                  <a:close/>
                  <a:moveTo>
                    <a:pt x="0" y="0"/>
                  </a:moveTo>
                  <a:lnTo>
                    <a:pt x="69" y="0"/>
                  </a:lnTo>
                  <a:lnTo>
                    <a:pt x="69" y="14"/>
                  </a:lnTo>
                  <a:lnTo>
                    <a:pt x="41" y="14"/>
                  </a:lnTo>
                  <a:lnTo>
                    <a:pt x="41" y="79"/>
                  </a:lnTo>
                  <a:lnTo>
                    <a:pt x="27" y="79"/>
                  </a:lnTo>
                  <a:lnTo>
                    <a:pt x="27" y="14"/>
                  </a:lnTo>
                  <a:lnTo>
                    <a:pt x="0" y="14"/>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18" name="Freeform 39">
              <a:extLst>
                <a:ext uri="{FF2B5EF4-FFF2-40B4-BE49-F238E27FC236}">
                  <a16:creationId xmlns:a16="http://schemas.microsoft.com/office/drawing/2014/main" id="{B7669B8E-A885-464F-B23E-626368780EE0}"/>
                </a:ext>
              </a:extLst>
            </p:cNvPr>
            <p:cNvSpPr>
              <a:spLocks noEditPoints="1"/>
            </p:cNvSpPr>
            <p:nvPr userDrawn="1"/>
          </p:nvSpPr>
          <p:spPr bwMode="auto">
            <a:xfrm>
              <a:off x="2118975" y="1310097"/>
              <a:ext cx="113744" cy="134024"/>
            </a:xfrm>
            <a:custGeom>
              <a:avLst/>
              <a:gdLst>
                <a:gd name="T0" fmla="*/ 141 w 258"/>
                <a:gd name="T1" fmla="*/ 42 h 304"/>
                <a:gd name="T2" fmla="*/ 117 w 258"/>
                <a:gd name="T3" fmla="*/ 46 h 304"/>
                <a:gd name="T4" fmla="*/ 98 w 258"/>
                <a:gd name="T5" fmla="*/ 52 h 304"/>
                <a:gd name="T6" fmla="*/ 82 w 258"/>
                <a:gd name="T7" fmla="*/ 66 h 304"/>
                <a:gd name="T8" fmla="*/ 68 w 258"/>
                <a:gd name="T9" fmla="*/ 82 h 304"/>
                <a:gd name="T10" fmla="*/ 58 w 258"/>
                <a:gd name="T11" fmla="*/ 101 h 304"/>
                <a:gd name="T12" fmla="*/ 54 w 258"/>
                <a:gd name="T13" fmla="*/ 125 h 304"/>
                <a:gd name="T14" fmla="*/ 211 w 258"/>
                <a:gd name="T15" fmla="*/ 125 h 304"/>
                <a:gd name="T16" fmla="*/ 211 w 258"/>
                <a:gd name="T17" fmla="*/ 119 h 304"/>
                <a:gd name="T18" fmla="*/ 209 w 258"/>
                <a:gd name="T19" fmla="*/ 97 h 304"/>
                <a:gd name="T20" fmla="*/ 203 w 258"/>
                <a:gd name="T21" fmla="*/ 78 h 304"/>
                <a:gd name="T22" fmla="*/ 193 w 258"/>
                <a:gd name="T23" fmla="*/ 64 h 304"/>
                <a:gd name="T24" fmla="*/ 179 w 258"/>
                <a:gd name="T25" fmla="*/ 52 h 304"/>
                <a:gd name="T26" fmla="*/ 161 w 258"/>
                <a:gd name="T27" fmla="*/ 46 h 304"/>
                <a:gd name="T28" fmla="*/ 141 w 258"/>
                <a:gd name="T29" fmla="*/ 42 h 304"/>
                <a:gd name="T30" fmla="*/ 139 w 258"/>
                <a:gd name="T31" fmla="*/ 0 h 304"/>
                <a:gd name="T32" fmla="*/ 167 w 258"/>
                <a:gd name="T33" fmla="*/ 2 h 304"/>
                <a:gd name="T34" fmla="*/ 191 w 258"/>
                <a:gd name="T35" fmla="*/ 10 h 304"/>
                <a:gd name="T36" fmla="*/ 211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2 w 258"/>
                <a:gd name="T51" fmla="*/ 165 h 304"/>
                <a:gd name="T52" fmla="*/ 58 w 258"/>
                <a:gd name="T53" fmla="*/ 193 h 304"/>
                <a:gd name="T54" fmla="*/ 66 w 258"/>
                <a:gd name="T55" fmla="*/ 216 h 304"/>
                <a:gd name="T56" fmla="*/ 80 w 258"/>
                <a:gd name="T57" fmla="*/ 234 h 304"/>
                <a:gd name="T58" fmla="*/ 100 w 258"/>
                <a:gd name="T59" fmla="*/ 248 h 304"/>
                <a:gd name="T60" fmla="*/ 123 w 258"/>
                <a:gd name="T61" fmla="*/ 256 h 304"/>
                <a:gd name="T62" fmla="*/ 153 w 258"/>
                <a:gd name="T63" fmla="*/ 260 h 304"/>
                <a:gd name="T64" fmla="*/ 181 w 258"/>
                <a:gd name="T65" fmla="*/ 256 h 304"/>
                <a:gd name="T66" fmla="*/ 205 w 258"/>
                <a:gd name="T67" fmla="*/ 248 h 304"/>
                <a:gd name="T68" fmla="*/ 226 w 258"/>
                <a:gd name="T69" fmla="*/ 236 h 304"/>
                <a:gd name="T70" fmla="*/ 248 w 258"/>
                <a:gd name="T71" fmla="*/ 270 h 304"/>
                <a:gd name="T72" fmla="*/ 226 w 258"/>
                <a:gd name="T73" fmla="*/ 286 h 304"/>
                <a:gd name="T74" fmla="*/ 203 w 258"/>
                <a:gd name="T75" fmla="*/ 296 h 304"/>
                <a:gd name="T76" fmla="*/ 177 w 258"/>
                <a:gd name="T77" fmla="*/ 302 h 304"/>
                <a:gd name="T78" fmla="*/ 147 w 258"/>
                <a:gd name="T79" fmla="*/ 304 h 304"/>
                <a:gd name="T80" fmla="*/ 115 w 258"/>
                <a:gd name="T81" fmla="*/ 302 h 304"/>
                <a:gd name="T82" fmla="*/ 88 w 258"/>
                <a:gd name="T83" fmla="*/ 294 h 304"/>
                <a:gd name="T84" fmla="*/ 62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2 w 258"/>
                <a:gd name="T105" fmla="*/ 22 h 304"/>
                <a:gd name="T106" fmla="*/ 84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8" y="52"/>
                  </a:lnTo>
                  <a:lnTo>
                    <a:pt x="82" y="66"/>
                  </a:lnTo>
                  <a:lnTo>
                    <a:pt x="68" y="82"/>
                  </a:lnTo>
                  <a:lnTo>
                    <a:pt x="58" y="101"/>
                  </a:lnTo>
                  <a:lnTo>
                    <a:pt x="54" y="125"/>
                  </a:lnTo>
                  <a:lnTo>
                    <a:pt x="211" y="125"/>
                  </a:lnTo>
                  <a:lnTo>
                    <a:pt x="211" y="119"/>
                  </a:lnTo>
                  <a:lnTo>
                    <a:pt x="209" y="97"/>
                  </a:lnTo>
                  <a:lnTo>
                    <a:pt x="203" y="78"/>
                  </a:lnTo>
                  <a:lnTo>
                    <a:pt x="193" y="64"/>
                  </a:lnTo>
                  <a:lnTo>
                    <a:pt x="179" y="52"/>
                  </a:lnTo>
                  <a:lnTo>
                    <a:pt x="161" y="46"/>
                  </a:lnTo>
                  <a:lnTo>
                    <a:pt x="141" y="42"/>
                  </a:lnTo>
                  <a:close/>
                  <a:moveTo>
                    <a:pt x="139" y="0"/>
                  </a:moveTo>
                  <a:lnTo>
                    <a:pt x="167" y="2"/>
                  </a:lnTo>
                  <a:lnTo>
                    <a:pt x="191" y="10"/>
                  </a:lnTo>
                  <a:lnTo>
                    <a:pt x="211" y="20"/>
                  </a:lnTo>
                  <a:lnTo>
                    <a:pt x="228" y="36"/>
                  </a:lnTo>
                  <a:lnTo>
                    <a:pt x="240" y="56"/>
                  </a:lnTo>
                  <a:lnTo>
                    <a:pt x="250" y="78"/>
                  </a:lnTo>
                  <a:lnTo>
                    <a:pt x="256" y="103"/>
                  </a:lnTo>
                  <a:lnTo>
                    <a:pt x="258" y="129"/>
                  </a:lnTo>
                  <a:lnTo>
                    <a:pt x="256" y="165"/>
                  </a:lnTo>
                  <a:lnTo>
                    <a:pt x="52" y="165"/>
                  </a:lnTo>
                  <a:lnTo>
                    <a:pt x="58" y="193"/>
                  </a:lnTo>
                  <a:lnTo>
                    <a:pt x="66" y="216"/>
                  </a:lnTo>
                  <a:lnTo>
                    <a:pt x="80" y="234"/>
                  </a:lnTo>
                  <a:lnTo>
                    <a:pt x="100" y="248"/>
                  </a:lnTo>
                  <a:lnTo>
                    <a:pt x="123" y="256"/>
                  </a:lnTo>
                  <a:lnTo>
                    <a:pt x="153" y="260"/>
                  </a:lnTo>
                  <a:lnTo>
                    <a:pt x="181" y="256"/>
                  </a:lnTo>
                  <a:lnTo>
                    <a:pt x="205" y="248"/>
                  </a:lnTo>
                  <a:lnTo>
                    <a:pt x="226" y="236"/>
                  </a:lnTo>
                  <a:lnTo>
                    <a:pt x="248" y="270"/>
                  </a:lnTo>
                  <a:lnTo>
                    <a:pt x="226" y="286"/>
                  </a:lnTo>
                  <a:lnTo>
                    <a:pt x="203" y="296"/>
                  </a:lnTo>
                  <a:lnTo>
                    <a:pt x="177" y="302"/>
                  </a:lnTo>
                  <a:lnTo>
                    <a:pt x="147" y="304"/>
                  </a:lnTo>
                  <a:lnTo>
                    <a:pt x="115" y="302"/>
                  </a:lnTo>
                  <a:lnTo>
                    <a:pt x="88" y="294"/>
                  </a:lnTo>
                  <a:lnTo>
                    <a:pt x="62" y="282"/>
                  </a:lnTo>
                  <a:lnTo>
                    <a:pt x="42" y="264"/>
                  </a:lnTo>
                  <a:lnTo>
                    <a:pt x="24" y="242"/>
                  </a:lnTo>
                  <a:lnTo>
                    <a:pt x="12" y="216"/>
                  </a:lnTo>
                  <a:lnTo>
                    <a:pt x="4" y="185"/>
                  </a:lnTo>
                  <a:lnTo>
                    <a:pt x="0" y="149"/>
                  </a:lnTo>
                  <a:lnTo>
                    <a:pt x="4" y="115"/>
                  </a:lnTo>
                  <a:lnTo>
                    <a:pt x="12" y="86"/>
                  </a:lnTo>
                  <a:lnTo>
                    <a:pt x="24" y="60"/>
                  </a:lnTo>
                  <a:lnTo>
                    <a:pt x="40" y="40"/>
                  </a:lnTo>
                  <a:lnTo>
                    <a:pt x="62" y="22"/>
                  </a:lnTo>
                  <a:lnTo>
                    <a:pt x="84"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19" name="Freeform 40">
              <a:extLst>
                <a:ext uri="{FF2B5EF4-FFF2-40B4-BE49-F238E27FC236}">
                  <a16:creationId xmlns:a16="http://schemas.microsoft.com/office/drawing/2014/main" id="{819AFBC9-0421-459D-A0DD-C6C1D2CF8001}"/>
                </a:ext>
              </a:extLst>
            </p:cNvPr>
            <p:cNvSpPr>
              <a:spLocks/>
            </p:cNvSpPr>
            <p:nvPr userDrawn="1"/>
          </p:nvSpPr>
          <p:spPr bwMode="auto">
            <a:xfrm>
              <a:off x="2245063" y="1313628"/>
              <a:ext cx="119916" cy="126969"/>
            </a:xfrm>
            <a:custGeom>
              <a:avLst/>
              <a:gdLst>
                <a:gd name="T0" fmla="*/ 6 w 271"/>
                <a:gd name="T1" fmla="*/ 0 h 288"/>
                <a:gd name="T2" fmla="*/ 65 w 271"/>
                <a:gd name="T3" fmla="*/ 0 h 288"/>
                <a:gd name="T4" fmla="*/ 137 w 271"/>
                <a:gd name="T5" fmla="*/ 105 h 288"/>
                <a:gd name="T6" fmla="*/ 208 w 271"/>
                <a:gd name="T7" fmla="*/ 0 h 288"/>
                <a:gd name="T8" fmla="*/ 263 w 271"/>
                <a:gd name="T9" fmla="*/ 0 h 288"/>
                <a:gd name="T10" fmla="*/ 164 w 271"/>
                <a:gd name="T11" fmla="*/ 141 h 288"/>
                <a:gd name="T12" fmla="*/ 271 w 271"/>
                <a:gd name="T13" fmla="*/ 288 h 288"/>
                <a:gd name="T14" fmla="*/ 212 w 271"/>
                <a:gd name="T15" fmla="*/ 288 h 288"/>
                <a:gd name="T16" fmla="*/ 135 w 271"/>
                <a:gd name="T17" fmla="*/ 177 h 288"/>
                <a:gd name="T18" fmla="*/ 55 w 271"/>
                <a:gd name="T19" fmla="*/ 288 h 288"/>
                <a:gd name="T20" fmla="*/ 0 w 271"/>
                <a:gd name="T21" fmla="*/ 288 h 288"/>
                <a:gd name="T22" fmla="*/ 107 w 271"/>
                <a:gd name="T23" fmla="*/ 141 h 288"/>
                <a:gd name="T24" fmla="*/ 6 w 271"/>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88">
                  <a:moveTo>
                    <a:pt x="6" y="0"/>
                  </a:moveTo>
                  <a:lnTo>
                    <a:pt x="65" y="0"/>
                  </a:lnTo>
                  <a:lnTo>
                    <a:pt x="137" y="105"/>
                  </a:lnTo>
                  <a:lnTo>
                    <a:pt x="208" y="0"/>
                  </a:lnTo>
                  <a:lnTo>
                    <a:pt x="263" y="0"/>
                  </a:lnTo>
                  <a:lnTo>
                    <a:pt x="164" y="141"/>
                  </a:lnTo>
                  <a:lnTo>
                    <a:pt x="271" y="288"/>
                  </a:lnTo>
                  <a:lnTo>
                    <a:pt x="212" y="288"/>
                  </a:lnTo>
                  <a:lnTo>
                    <a:pt x="135" y="177"/>
                  </a:lnTo>
                  <a:lnTo>
                    <a:pt x="55" y="288"/>
                  </a:lnTo>
                  <a:lnTo>
                    <a:pt x="0" y="288"/>
                  </a:lnTo>
                  <a:lnTo>
                    <a:pt x="107" y="141"/>
                  </a:lnTo>
                  <a:lnTo>
                    <a:pt x="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0" name="Freeform 41">
              <a:extLst>
                <a:ext uri="{FF2B5EF4-FFF2-40B4-BE49-F238E27FC236}">
                  <a16:creationId xmlns:a16="http://schemas.microsoft.com/office/drawing/2014/main" id="{EE232FE2-BA9E-4C3C-8751-14B704C562C9}"/>
                </a:ext>
              </a:extLst>
            </p:cNvPr>
            <p:cNvSpPr>
              <a:spLocks noEditPoints="1"/>
            </p:cNvSpPr>
            <p:nvPr userDrawn="1"/>
          </p:nvSpPr>
          <p:spPr bwMode="auto">
            <a:xfrm>
              <a:off x="2382616" y="1310097"/>
              <a:ext cx="122561" cy="183400"/>
            </a:xfrm>
            <a:custGeom>
              <a:avLst/>
              <a:gdLst>
                <a:gd name="T0" fmla="*/ 143 w 277"/>
                <a:gd name="T1" fmla="*/ 44 h 417"/>
                <a:gd name="T2" fmla="*/ 115 w 277"/>
                <a:gd name="T3" fmla="*/ 48 h 417"/>
                <a:gd name="T4" fmla="*/ 93 w 277"/>
                <a:gd name="T5" fmla="*/ 58 h 417"/>
                <a:gd name="T6" fmla="*/ 75 w 277"/>
                <a:gd name="T7" fmla="*/ 74 h 417"/>
                <a:gd name="T8" fmla="*/ 61 w 277"/>
                <a:gd name="T9" fmla="*/ 97 h 417"/>
                <a:gd name="T10" fmla="*/ 53 w 277"/>
                <a:gd name="T11" fmla="*/ 123 h 417"/>
                <a:gd name="T12" fmla="*/ 51 w 277"/>
                <a:gd name="T13" fmla="*/ 155 h 417"/>
                <a:gd name="T14" fmla="*/ 53 w 277"/>
                <a:gd name="T15" fmla="*/ 185 h 417"/>
                <a:gd name="T16" fmla="*/ 61 w 277"/>
                <a:gd name="T17" fmla="*/ 210 h 417"/>
                <a:gd name="T18" fmla="*/ 73 w 277"/>
                <a:gd name="T19" fmla="*/ 232 h 417"/>
                <a:gd name="T20" fmla="*/ 91 w 277"/>
                <a:gd name="T21" fmla="*/ 246 h 417"/>
                <a:gd name="T22" fmla="*/ 113 w 277"/>
                <a:gd name="T23" fmla="*/ 256 h 417"/>
                <a:gd name="T24" fmla="*/ 137 w 277"/>
                <a:gd name="T25" fmla="*/ 260 h 417"/>
                <a:gd name="T26" fmla="*/ 162 w 277"/>
                <a:gd name="T27" fmla="*/ 256 h 417"/>
                <a:gd name="T28" fmla="*/ 184 w 277"/>
                <a:gd name="T29" fmla="*/ 246 h 417"/>
                <a:gd name="T30" fmla="*/ 200 w 277"/>
                <a:gd name="T31" fmla="*/ 230 h 417"/>
                <a:gd name="T32" fmla="*/ 214 w 277"/>
                <a:gd name="T33" fmla="*/ 208 h 417"/>
                <a:gd name="T34" fmla="*/ 220 w 277"/>
                <a:gd name="T35" fmla="*/ 181 h 417"/>
                <a:gd name="T36" fmla="*/ 224 w 277"/>
                <a:gd name="T37" fmla="*/ 149 h 417"/>
                <a:gd name="T38" fmla="*/ 220 w 277"/>
                <a:gd name="T39" fmla="*/ 117 h 417"/>
                <a:gd name="T40" fmla="*/ 214 w 277"/>
                <a:gd name="T41" fmla="*/ 92 h 417"/>
                <a:gd name="T42" fmla="*/ 202 w 277"/>
                <a:gd name="T43" fmla="*/ 72 h 417"/>
                <a:gd name="T44" fmla="*/ 186 w 277"/>
                <a:gd name="T45" fmla="*/ 56 h 417"/>
                <a:gd name="T46" fmla="*/ 166 w 277"/>
                <a:gd name="T47" fmla="*/ 48 h 417"/>
                <a:gd name="T48" fmla="*/ 143 w 277"/>
                <a:gd name="T49" fmla="*/ 44 h 417"/>
                <a:gd name="T50" fmla="*/ 153 w 277"/>
                <a:gd name="T51" fmla="*/ 0 h 417"/>
                <a:gd name="T52" fmla="*/ 180 w 277"/>
                <a:gd name="T53" fmla="*/ 2 h 417"/>
                <a:gd name="T54" fmla="*/ 206 w 277"/>
                <a:gd name="T55" fmla="*/ 10 h 417"/>
                <a:gd name="T56" fmla="*/ 226 w 277"/>
                <a:gd name="T57" fmla="*/ 24 h 417"/>
                <a:gd name="T58" fmla="*/ 244 w 277"/>
                <a:gd name="T59" fmla="*/ 40 h 417"/>
                <a:gd name="T60" fmla="*/ 258 w 277"/>
                <a:gd name="T61" fmla="*/ 62 h 417"/>
                <a:gd name="T62" fmla="*/ 267 w 277"/>
                <a:gd name="T63" fmla="*/ 86 h 417"/>
                <a:gd name="T64" fmla="*/ 275 w 277"/>
                <a:gd name="T65" fmla="*/ 115 h 417"/>
                <a:gd name="T66" fmla="*/ 277 w 277"/>
                <a:gd name="T67" fmla="*/ 147 h 417"/>
                <a:gd name="T68" fmla="*/ 275 w 277"/>
                <a:gd name="T69" fmla="*/ 179 h 417"/>
                <a:gd name="T70" fmla="*/ 267 w 277"/>
                <a:gd name="T71" fmla="*/ 208 h 417"/>
                <a:gd name="T72" fmla="*/ 258 w 277"/>
                <a:gd name="T73" fmla="*/ 236 h 417"/>
                <a:gd name="T74" fmla="*/ 242 w 277"/>
                <a:gd name="T75" fmla="*/ 260 h 417"/>
                <a:gd name="T76" fmla="*/ 224 w 277"/>
                <a:gd name="T77" fmla="*/ 278 h 417"/>
                <a:gd name="T78" fmla="*/ 200 w 277"/>
                <a:gd name="T79" fmla="*/ 292 h 417"/>
                <a:gd name="T80" fmla="*/ 174 w 277"/>
                <a:gd name="T81" fmla="*/ 302 h 417"/>
                <a:gd name="T82" fmla="*/ 145 w 277"/>
                <a:gd name="T83" fmla="*/ 304 h 417"/>
                <a:gd name="T84" fmla="*/ 115 w 277"/>
                <a:gd name="T85" fmla="*/ 302 h 417"/>
                <a:gd name="T86" fmla="*/ 89 w 277"/>
                <a:gd name="T87" fmla="*/ 292 h 417"/>
                <a:gd name="T88" fmla="*/ 67 w 277"/>
                <a:gd name="T89" fmla="*/ 276 h 417"/>
                <a:gd name="T90" fmla="*/ 51 w 277"/>
                <a:gd name="T91" fmla="*/ 256 h 417"/>
                <a:gd name="T92" fmla="*/ 51 w 277"/>
                <a:gd name="T93" fmla="*/ 417 h 417"/>
                <a:gd name="T94" fmla="*/ 0 w 277"/>
                <a:gd name="T95" fmla="*/ 417 h 417"/>
                <a:gd name="T96" fmla="*/ 0 w 277"/>
                <a:gd name="T97" fmla="*/ 8 h 417"/>
                <a:gd name="T98" fmla="*/ 28 w 277"/>
                <a:gd name="T99" fmla="*/ 8 h 417"/>
                <a:gd name="T100" fmla="*/ 36 w 277"/>
                <a:gd name="T101" fmla="*/ 8 h 417"/>
                <a:gd name="T102" fmla="*/ 42 w 277"/>
                <a:gd name="T103" fmla="*/ 10 h 417"/>
                <a:gd name="T104" fmla="*/ 48 w 277"/>
                <a:gd name="T105" fmla="*/ 14 h 417"/>
                <a:gd name="T106" fmla="*/ 49 w 277"/>
                <a:gd name="T107" fmla="*/ 20 h 417"/>
                <a:gd name="T108" fmla="*/ 51 w 277"/>
                <a:gd name="T109" fmla="*/ 28 h 417"/>
                <a:gd name="T110" fmla="*/ 51 w 277"/>
                <a:gd name="T111" fmla="*/ 52 h 417"/>
                <a:gd name="T112" fmla="*/ 67 w 277"/>
                <a:gd name="T113" fmla="*/ 30 h 417"/>
                <a:gd name="T114" fmla="*/ 91 w 277"/>
                <a:gd name="T115" fmla="*/ 14 h 417"/>
                <a:gd name="T116" fmla="*/ 119 w 277"/>
                <a:gd name="T117" fmla="*/ 4 h 417"/>
                <a:gd name="T118" fmla="*/ 153 w 277"/>
                <a:gd name="T119"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7" h="417">
                  <a:moveTo>
                    <a:pt x="143" y="44"/>
                  </a:moveTo>
                  <a:lnTo>
                    <a:pt x="115" y="48"/>
                  </a:lnTo>
                  <a:lnTo>
                    <a:pt x="93" y="58"/>
                  </a:lnTo>
                  <a:lnTo>
                    <a:pt x="75" y="74"/>
                  </a:lnTo>
                  <a:lnTo>
                    <a:pt x="61" y="97"/>
                  </a:lnTo>
                  <a:lnTo>
                    <a:pt x="53" y="123"/>
                  </a:lnTo>
                  <a:lnTo>
                    <a:pt x="51" y="155"/>
                  </a:lnTo>
                  <a:lnTo>
                    <a:pt x="53" y="185"/>
                  </a:lnTo>
                  <a:lnTo>
                    <a:pt x="61" y="210"/>
                  </a:lnTo>
                  <a:lnTo>
                    <a:pt x="73" y="232"/>
                  </a:lnTo>
                  <a:lnTo>
                    <a:pt x="91" y="246"/>
                  </a:lnTo>
                  <a:lnTo>
                    <a:pt x="113" y="256"/>
                  </a:lnTo>
                  <a:lnTo>
                    <a:pt x="137" y="260"/>
                  </a:lnTo>
                  <a:lnTo>
                    <a:pt x="162" y="256"/>
                  </a:lnTo>
                  <a:lnTo>
                    <a:pt x="184" y="246"/>
                  </a:lnTo>
                  <a:lnTo>
                    <a:pt x="200" y="230"/>
                  </a:lnTo>
                  <a:lnTo>
                    <a:pt x="214" y="208"/>
                  </a:lnTo>
                  <a:lnTo>
                    <a:pt x="220" y="181"/>
                  </a:lnTo>
                  <a:lnTo>
                    <a:pt x="224" y="149"/>
                  </a:lnTo>
                  <a:lnTo>
                    <a:pt x="220" y="117"/>
                  </a:lnTo>
                  <a:lnTo>
                    <a:pt x="214" y="92"/>
                  </a:lnTo>
                  <a:lnTo>
                    <a:pt x="202" y="72"/>
                  </a:lnTo>
                  <a:lnTo>
                    <a:pt x="186" y="56"/>
                  </a:lnTo>
                  <a:lnTo>
                    <a:pt x="166" y="48"/>
                  </a:lnTo>
                  <a:lnTo>
                    <a:pt x="143" y="44"/>
                  </a:lnTo>
                  <a:close/>
                  <a:moveTo>
                    <a:pt x="153" y="0"/>
                  </a:moveTo>
                  <a:lnTo>
                    <a:pt x="180" y="2"/>
                  </a:lnTo>
                  <a:lnTo>
                    <a:pt x="206" y="10"/>
                  </a:lnTo>
                  <a:lnTo>
                    <a:pt x="226" y="24"/>
                  </a:lnTo>
                  <a:lnTo>
                    <a:pt x="244" y="40"/>
                  </a:lnTo>
                  <a:lnTo>
                    <a:pt x="258" y="62"/>
                  </a:lnTo>
                  <a:lnTo>
                    <a:pt x="267" y="86"/>
                  </a:lnTo>
                  <a:lnTo>
                    <a:pt x="275" y="115"/>
                  </a:lnTo>
                  <a:lnTo>
                    <a:pt x="277" y="147"/>
                  </a:lnTo>
                  <a:lnTo>
                    <a:pt x="275" y="179"/>
                  </a:lnTo>
                  <a:lnTo>
                    <a:pt x="267" y="208"/>
                  </a:lnTo>
                  <a:lnTo>
                    <a:pt x="258" y="236"/>
                  </a:lnTo>
                  <a:lnTo>
                    <a:pt x="242" y="260"/>
                  </a:lnTo>
                  <a:lnTo>
                    <a:pt x="224" y="278"/>
                  </a:lnTo>
                  <a:lnTo>
                    <a:pt x="200" y="292"/>
                  </a:lnTo>
                  <a:lnTo>
                    <a:pt x="174" y="302"/>
                  </a:lnTo>
                  <a:lnTo>
                    <a:pt x="145" y="304"/>
                  </a:lnTo>
                  <a:lnTo>
                    <a:pt x="115" y="302"/>
                  </a:lnTo>
                  <a:lnTo>
                    <a:pt x="89" y="292"/>
                  </a:lnTo>
                  <a:lnTo>
                    <a:pt x="67" y="276"/>
                  </a:lnTo>
                  <a:lnTo>
                    <a:pt x="51" y="256"/>
                  </a:lnTo>
                  <a:lnTo>
                    <a:pt x="51" y="417"/>
                  </a:lnTo>
                  <a:lnTo>
                    <a:pt x="0" y="417"/>
                  </a:lnTo>
                  <a:lnTo>
                    <a:pt x="0" y="8"/>
                  </a:lnTo>
                  <a:lnTo>
                    <a:pt x="28" y="8"/>
                  </a:lnTo>
                  <a:lnTo>
                    <a:pt x="36" y="8"/>
                  </a:lnTo>
                  <a:lnTo>
                    <a:pt x="42" y="10"/>
                  </a:lnTo>
                  <a:lnTo>
                    <a:pt x="48" y="14"/>
                  </a:lnTo>
                  <a:lnTo>
                    <a:pt x="49" y="20"/>
                  </a:lnTo>
                  <a:lnTo>
                    <a:pt x="51" y="28"/>
                  </a:lnTo>
                  <a:lnTo>
                    <a:pt x="51" y="52"/>
                  </a:lnTo>
                  <a:lnTo>
                    <a:pt x="67" y="30"/>
                  </a:lnTo>
                  <a:lnTo>
                    <a:pt x="91" y="14"/>
                  </a:lnTo>
                  <a:lnTo>
                    <a:pt x="119" y="4"/>
                  </a:lnTo>
                  <a:lnTo>
                    <a:pt x="153"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1" name="Freeform 42">
              <a:extLst>
                <a:ext uri="{FF2B5EF4-FFF2-40B4-BE49-F238E27FC236}">
                  <a16:creationId xmlns:a16="http://schemas.microsoft.com/office/drawing/2014/main" id="{D7697E55-9F08-47AB-B5E2-26B89D84BAC8}"/>
                </a:ext>
              </a:extLst>
            </p:cNvPr>
            <p:cNvSpPr>
              <a:spLocks noEditPoints="1"/>
            </p:cNvSpPr>
            <p:nvPr userDrawn="1"/>
          </p:nvSpPr>
          <p:spPr bwMode="auto">
            <a:xfrm>
              <a:off x="2526335" y="1310097"/>
              <a:ext cx="113744" cy="134024"/>
            </a:xfrm>
            <a:custGeom>
              <a:avLst/>
              <a:gdLst>
                <a:gd name="T0" fmla="*/ 141 w 258"/>
                <a:gd name="T1" fmla="*/ 42 h 304"/>
                <a:gd name="T2" fmla="*/ 117 w 258"/>
                <a:gd name="T3" fmla="*/ 46 h 304"/>
                <a:gd name="T4" fmla="*/ 97 w 258"/>
                <a:gd name="T5" fmla="*/ 52 h 304"/>
                <a:gd name="T6" fmla="*/ 81 w 258"/>
                <a:gd name="T7" fmla="*/ 66 h 304"/>
                <a:gd name="T8" fmla="*/ 67 w 258"/>
                <a:gd name="T9" fmla="*/ 82 h 304"/>
                <a:gd name="T10" fmla="*/ 57 w 258"/>
                <a:gd name="T11" fmla="*/ 101 h 304"/>
                <a:gd name="T12" fmla="*/ 53 w 258"/>
                <a:gd name="T13" fmla="*/ 125 h 304"/>
                <a:gd name="T14" fmla="*/ 210 w 258"/>
                <a:gd name="T15" fmla="*/ 125 h 304"/>
                <a:gd name="T16" fmla="*/ 210 w 258"/>
                <a:gd name="T17" fmla="*/ 119 h 304"/>
                <a:gd name="T18" fmla="*/ 208 w 258"/>
                <a:gd name="T19" fmla="*/ 97 h 304"/>
                <a:gd name="T20" fmla="*/ 200 w 258"/>
                <a:gd name="T21" fmla="*/ 78 h 304"/>
                <a:gd name="T22" fmla="*/ 190 w 258"/>
                <a:gd name="T23" fmla="*/ 64 h 304"/>
                <a:gd name="T24" fmla="*/ 178 w 258"/>
                <a:gd name="T25" fmla="*/ 52 h 304"/>
                <a:gd name="T26" fmla="*/ 160 w 258"/>
                <a:gd name="T27" fmla="*/ 46 h 304"/>
                <a:gd name="T28" fmla="*/ 141 w 258"/>
                <a:gd name="T29" fmla="*/ 42 h 304"/>
                <a:gd name="T30" fmla="*/ 139 w 258"/>
                <a:gd name="T31" fmla="*/ 0 h 304"/>
                <a:gd name="T32" fmla="*/ 166 w 258"/>
                <a:gd name="T33" fmla="*/ 2 h 304"/>
                <a:gd name="T34" fmla="*/ 190 w 258"/>
                <a:gd name="T35" fmla="*/ 10 h 304"/>
                <a:gd name="T36" fmla="*/ 210 w 258"/>
                <a:gd name="T37" fmla="*/ 20 h 304"/>
                <a:gd name="T38" fmla="*/ 228 w 258"/>
                <a:gd name="T39" fmla="*/ 36 h 304"/>
                <a:gd name="T40" fmla="*/ 240 w 258"/>
                <a:gd name="T41" fmla="*/ 56 h 304"/>
                <a:gd name="T42" fmla="*/ 250 w 258"/>
                <a:gd name="T43" fmla="*/ 78 h 304"/>
                <a:gd name="T44" fmla="*/ 256 w 258"/>
                <a:gd name="T45" fmla="*/ 103 h 304"/>
                <a:gd name="T46" fmla="*/ 258 w 258"/>
                <a:gd name="T47" fmla="*/ 129 h 304"/>
                <a:gd name="T48" fmla="*/ 256 w 258"/>
                <a:gd name="T49" fmla="*/ 165 h 304"/>
                <a:gd name="T50" fmla="*/ 51 w 258"/>
                <a:gd name="T51" fmla="*/ 165 h 304"/>
                <a:gd name="T52" fmla="*/ 57 w 258"/>
                <a:gd name="T53" fmla="*/ 193 h 304"/>
                <a:gd name="T54" fmla="*/ 65 w 258"/>
                <a:gd name="T55" fmla="*/ 216 h 304"/>
                <a:gd name="T56" fmla="*/ 79 w 258"/>
                <a:gd name="T57" fmla="*/ 234 h 304"/>
                <a:gd name="T58" fmla="*/ 99 w 258"/>
                <a:gd name="T59" fmla="*/ 248 h 304"/>
                <a:gd name="T60" fmla="*/ 123 w 258"/>
                <a:gd name="T61" fmla="*/ 256 h 304"/>
                <a:gd name="T62" fmla="*/ 153 w 258"/>
                <a:gd name="T63" fmla="*/ 260 h 304"/>
                <a:gd name="T64" fmla="*/ 180 w 258"/>
                <a:gd name="T65" fmla="*/ 256 h 304"/>
                <a:gd name="T66" fmla="*/ 204 w 258"/>
                <a:gd name="T67" fmla="*/ 248 h 304"/>
                <a:gd name="T68" fmla="*/ 226 w 258"/>
                <a:gd name="T69" fmla="*/ 236 h 304"/>
                <a:gd name="T70" fmla="*/ 248 w 258"/>
                <a:gd name="T71" fmla="*/ 270 h 304"/>
                <a:gd name="T72" fmla="*/ 226 w 258"/>
                <a:gd name="T73" fmla="*/ 286 h 304"/>
                <a:gd name="T74" fmla="*/ 202 w 258"/>
                <a:gd name="T75" fmla="*/ 296 h 304"/>
                <a:gd name="T76" fmla="*/ 176 w 258"/>
                <a:gd name="T77" fmla="*/ 302 h 304"/>
                <a:gd name="T78" fmla="*/ 147 w 258"/>
                <a:gd name="T79" fmla="*/ 304 h 304"/>
                <a:gd name="T80" fmla="*/ 115 w 258"/>
                <a:gd name="T81" fmla="*/ 302 h 304"/>
                <a:gd name="T82" fmla="*/ 87 w 258"/>
                <a:gd name="T83" fmla="*/ 294 h 304"/>
                <a:gd name="T84" fmla="*/ 61 w 258"/>
                <a:gd name="T85" fmla="*/ 282 h 304"/>
                <a:gd name="T86" fmla="*/ 42 w 258"/>
                <a:gd name="T87" fmla="*/ 264 h 304"/>
                <a:gd name="T88" fmla="*/ 24 w 258"/>
                <a:gd name="T89" fmla="*/ 242 h 304"/>
                <a:gd name="T90" fmla="*/ 12 w 258"/>
                <a:gd name="T91" fmla="*/ 216 h 304"/>
                <a:gd name="T92" fmla="*/ 4 w 258"/>
                <a:gd name="T93" fmla="*/ 185 h 304"/>
                <a:gd name="T94" fmla="*/ 0 w 258"/>
                <a:gd name="T95" fmla="*/ 149 h 304"/>
                <a:gd name="T96" fmla="*/ 4 w 258"/>
                <a:gd name="T97" fmla="*/ 115 h 304"/>
                <a:gd name="T98" fmla="*/ 12 w 258"/>
                <a:gd name="T99" fmla="*/ 86 h 304"/>
                <a:gd name="T100" fmla="*/ 24 w 258"/>
                <a:gd name="T101" fmla="*/ 60 h 304"/>
                <a:gd name="T102" fmla="*/ 40 w 258"/>
                <a:gd name="T103" fmla="*/ 40 h 304"/>
                <a:gd name="T104" fmla="*/ 61 w 258"/>
                <a:gd name="T105" fmla="*/ 22 h 304"/>
                <a:gd name="T106" fmla="*/ 83 w 258"/>
                <a:gd name="T107" fmla="*/ 10 h 304"/>
                <a:gd name="T108" fmla="*/ 111 w 258"/>
                <a:gd name="T109" fmla="*/ 2 h 304"/>
                <a:gd name="T110" fmla="*/ 139 w 258"/>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4">
                  <a:moveTo>
                    <a:pt x="141" y="42"/>
                  </a:moveTo>
                  <a:lnTo>
                    <a:pt x="117" y="46"/>
                  </a:lnTo>
                  <a:lnTo>
                    <a:pt x="97" y="52"/>
                  </a:lnTo>
                  <a:lnTo>
                    <a:pt x="81" y="66"/>
                  </a:lnTo>
                  <a:lnTo>
                    <a:pt x="67" y="82"/>
                  </a:lnTo>
                  <a:lnTo>
                    <a:pt x="57" y="101"/>
                  </a:lnTo>
                  <a:lnTo>
                    <a:pt x="53" y="125"/>
                  </a:lnTo>
                  <a:lnTo>
                    <a:pt x="210" y="125"/>
                  </a:lnTo>
                  <a:lnTo>
                    <a:pt x="210" y="119"/>
                  </a:lnTo>
                  <a:lnTo>
                    <a:pt x="208" y="97"/>
                  </a:lnTo>
                  <a:lnTo>
                    <a:pt x="200" y="78"/>
                  </a:lnTo>
                  <a:lnTo>
                    <a:pt x="190" y="64"/>
                  </a:lnTo>
                  <a:lnTo>
                    <a:pt x="178" y="52"/>
                  </a:lnTo>
                  <a:lnTo>
                    <a:pt x="160" y="46"/>
                  </a:lnTo>
                  <a:lnTo>
                    <a:pt x="141" y="42"/>
                  </a:lnTo>
                  <a:close/>
                  <a:moveTo>
                    <a:pt x="139" y="0"/>
                  </a:moveTo>
                  <a:lnTo>
                    <a:pt x="166" y="2"/>
                  </a:lnTo>
                  <a:lnTo>
                    <a:pt x="190" y="10"/>
                  </a:lnTo>
                  <a:lnTo>
                    <a:pt x="210" y="20"/>
                  </a:lnTo>
                  <a:lnTo>
                    <a:pt x="228" y="36"/>
                  </a:lnTo>
                  <a:lnTo>
                    <a:pt x="240" y="56"/>
                  </a:lnTo>
                  <a:lnTo>
                    <a:pt x="250" y="78"/>
                  </a:lnTo>
                  <a:lnTo>
                    <a:pt x="256" y="103"/>
                  </a:lnTo>
                  <a:lnTo>
                    <a:pt x="258" y="129"/>
                  </a:lnTo>
                  <a:lnTo>
                    <a:pt x="256" y="165"/>
                  </a:lnTo>
                  <a:lnTo>
                    <a:pt x="51" y="165"/>
                  </a:lnTo>
                  <a:lnTo>
                    <a:pt x="57" y="193"/>
                  </a:lnTo>
                  <a:lnTo>
                    <a:pt x="65" y="216"/>
                  </a:lnTo>
                  <a:lnTo>
                    <a:pt x="79" y="234"/>
                  </a:lnTo>
                  <a:lnTo>
                    <a:pt x="99" y="248"/>
                  </a:lnTo>
                  <a:lnTo>
                    <a:pt x="123" y="256"/>
                  </a:lnTo>
                  <a:lnTo>
                    <a:pt x="153" y="260"/>
                  </a:lnTo>
                  <a:lnTo>
                    <a:pt x="180" y="256"/>
                  </a:lnTo>
                  <a:lnTo>
                    <a:pt x="204" y="248"/>
                  </a:lnTo>
                  <a:lnTo>
                    <a:pt x="226" y="236"/>
                  </a:lnTo>
                  <a:lnTo>
                    <a:pt x="248" y="270"/>
                  </a:lnTo>
                  <a:lnTo>
                    <a:pt x="226" y="286"/>
                  </a:lnTo>
                  <a:lnTo>
                    <a:pt x="202" y="296"/>
                  </a:lnTo>
                  <a:lnTo>
                    <a:pt x="176" y="302"/>
                  </a:lnTo>
                  <a:lnTo>
                    <a:pt x="147" y="304"/>
                  </a:lnTo>
                  <a:lnTo>
                    <a:pt x="115" y="302"/>
                  </a:lnTo>
                  <a:lnTo>
                    <a:pt x="87" y="294"/>
                  </a:lnTo>
                  <a:lnTo>
                    <a:pt x="61" y="282"/>
                  </a:lnTo>
                  <a:lnTo>
                    <a:pt x="42" y="264"/>
                  </a:lnTo>
                  <a:lnTo>
                    <a:pt x="24" y="242"/>
                  </a:lnTo>
                  <a:lnTo>
                    <a:pt x="12" y="216"/>
                  </a:lnTo>
                  <a:lnTo>
                    <a:pt x="4" y="185"/>
                  </a:lnTo>
                  <a:lnTo>
                    <a:pt x="0" y="149"/>
                  </a:lnTo>
                  <a:lnTo>
                    <a:pt x="4" y="115"/>
                  </a:lnTo>
                  <a:lnTo>
                    <a:pt x="12" y="86"/>
                  </a:lnTo>
                  <a:lnTo>
                    <a:pt x="24" y="60"/>
                  </a:lnTo>
                  <a:lnTo>
                    <a:pt x="40" y="40"/>
                  </a:lnTo>
                  <a:lnTo>
                    <a:pt x="61" y="22"/>
                  </a:lnTo>
                  <a:lnTo>
                    <a:pt x="83" y="10"/>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2" name="Freeform 43">
              <a:extLst>
                <a:ext uri="{FF2B5EF4-FFF2-40B4-BE49-F238E27FC236}">
                  <a16:creationId xmlns:a16="http://schemas.microsoft.com/office/drawing/2014/main" id="{5FF2A8F5-1B68-42DB-99F1-0685BE26BFDF}"/>
                </a:ext>
              </a:extLst>
            </p:cNvPr>
            <p:cNvSpPr>
              <a:spLocks/>
            </p:cNvSpPr>
            <p:nvPr userDrawn="1"/>
          </p:nvSpPr>
          <p:spPr bwMode="auto">
            <a:xfrm>
              <a:off x="2669178" y="1311864"/>
              <a:ext cx="72303" cy="128733"/>
            </a:xfrm>
            <a:custGeom>
              <a:avLst/>
              <a:gdLst>
                <a:gd name="T0" fmla="*/ 139 w 164"/>
                <a:gd name="T1" fmla="*/ 0 h 292"/>
                <a:gd name="T2" fmla="*/ 147 w 164"/>
                <a:gd name="T3" fmla="*/ 0 h 292"/>
                <a:gd name="T4" fmla="*/ 155 w 164"/>
                <a:gd name="T5" fmla="*/ 0 h 292"/>
                <a:gd name="T6" fmla="*/ 161 w 164"/>
                <a:gd name="T7" fmla="*/ 2 h 292"/>
                <a:gd name="T8" fmla="*/ 164 w 164"/>
                <a:gd name="T9" fmla="*/ 2 h 292"/>
                <a:gd name="T10" fmla="*/ 164 w 164"/>
                <a:gd name="T11" fmla="*/ 46 h 292"/>
                <a:gd name="T12" fmla="*/ 147 w 164"/>
                <a:gd name="T13" fmla="*/ 46 h 292"/>
                <a:gd name="T14" fmla="*/ 117 w 164"/>
                <a:gd name="T15" fmla="*/ 48 h 292"/>
                <a:gd name="T16" fmla="*/ 93 w 164"/>
                <a:gd name="T17" fmla="*/ 56 h 292"/>
                <a:gd name="T18" fmla="*/ 75 w 164"/>
                <a:gd name="T19" fmla="*/ 70 h 292"/>
                <a:gd name="T20" fmla="*/ 61 w 164"/>
                <a:gd name="T21" fmla="*/ 91 h 292"/>
                <a:gd name="T22" fmla="*/ 54 w 164"/>
                <a:gd name="T23" fmla="*/ 119 h 292"/>
                <a:gd name="T24" fmla="*/ 52 w 164"/>
                <a:gd name="T25" fmla="*/ 153 h 292"/>
                <a:gd name="T26" fmla="*/ 52 w 164"/>
                <a:gd name="T27" fmla="*/ 292 h 292"/>
                <a:gd name="T28" fmla="*/ 0 w 164"/>
                <a:gd name="T29" fmla="*/ 292 h 292"/>
                <a:gd name="T30" fmla="*/ 0 w 164"/>
                <a:gd name="T31" fmla="*/ 4 h 292"/>
                <a:gd name="T32" fmla="*/ 26 w 164"/>
                <a:gd name="T33" fmla="*/ 4 h 292"/>
                <a:gd name="T34" fmla="*/ 36 w 164"/>
                <a:gd name="T35" fmla="*/ 4 h 292"/>
                <a:gd name="T36" fmla="*/ 42 w 164"/>
                <a:gd name="T37" fmla="*/ 6 h 292"/>
                <a:gd name="T38" fmla="*/ 46 w 164"/>
                <a:gd name="T39" fmla="*/ 10 h 292"/>
                <a:gd name="T40" fmla="*/ 50 w 164"/>
                <a:gd name="T41" fmla="*/ 16 h 292"/>
                <a:gd name="T42" fmla="*/ 50 w 164"/>
                <a:gd name="T43" fmla="*/ 24 h 292"/>
                <a:gd name="T44" fmla="*/ 50 w 164"/>
                <a:gd name="T45" fmla="*/ 52 h 292"/>
                <a:gd name="T46" fmla="*/ 65 w 164"/>
                <a:gd name="T47" fmla="*/ 30 h 292"/>
                <a:gd name="T48" fmla="*/ 85 w 164"/>
                <a:gd name="T49" fmla="*/ 12 h 292"/>
                <a:gd name="T50" fmla="*/ 111 w 164"/>
                <a:gd name="T51" fmla="*/ 2 h 292"/>
                <a:gd name="T52" fmla="*/ 139 w 16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4" h="292">
                  <a:moveTo>
                    <a:pt x="139" y="0"/>
                  </a:moveTo>
                  <a:lnTo>
                    <a:pt x="147" y="0"/>
                  </a:lnTo>
                  <a:lnTo>
                    <a:pt x="155" y="0"/>
                  </a:lnTo>
                  <a:lnTo>
                    <a:pt x="161" y="2"/>
                  </a:lnTo>
                  <a:lnTo>
                    <a:pt x="164" y="2"/>
                  </a:lnTo>
                  <a:lnTo>
                    <a:pt x="164" y="46"/>
                  </a:lnTo>
                  <a:lnTo>
                    <a:pt x="147" y="46"/>
                  </a:lnTo>
                  <a:lnTo>
                    <a:pt x="117" y="48"/>
                  </a:lnTo>
                  <a:lnTo>
                    <a:pt x="93" y="56"/>
                  </a:lnTo>
                  <a:lnTo>
                    <a:pt x="75" y="70"/>
                  </a:lnTo>
                  <a:lnTo>
                    <a:pt x="61" y="91"/>
                  </a:lnTo>
                  <a:lnTo>
                    <a:pt x="54" y="119"/>
                  </a:lnTo>
                  <a:lnTo>
                    <a:pt x="52" y="153"/>
                  </a:lnTo>
                  <a:lnTo>
                    <a:pt x="52" y="292"/>
                  </a:lnTo>
                  <a:lnTo>
                    <a:pt x="0" y="292"/>
                  </a:lnTo>
                  <a:lnTo>
                    <a:pt x="0" y="4"/>
                  </a:lnTo>
                  <a:lnTo>
                    <a:pt x="26" y="4"/>
                  </a:lnTo>
                  <a:lnTo>
                    <a:pt x="36" y="4"/>
                  </a:lnTo>
                  <a:lnTo>
                    <a:pt x="42" y="6"/>
                  </a:lnTo>
                  <a:lnTo>
                    <a:pt x="46" y="10"/>
                  </a:lnTo>
                  <a:lnTo>
                    <a:pt x="50" y="16"/>
                  </a:lnTo>
                  <a:lnTo>
                    <a:pt x="50" y="24"/>
                  </a:lnTo>
                  <a:lnTo>
                    <a:pt x="50" y="52"/>
                  </a:lnTo>
                  <a:lnTo>
                    <a:pt x="65" y="30"/>
                  </a:lnTo>
                  <a:lnTo>
                    <a:pt x="85" y="12"/>
                  </a:lnTo>
                  <a:lnTo>
                    <a:pt x="111"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3" name="Freeform 44">
              <a:extLst>
                <a:ext uri="{FF2B5EF4-FFF2-40B4-BE49-F238E27FC236}">
                  <a16:creationId xmlns:a16="http://schemas.microsoft.com/office/drawing/2014/main" id="{6B32EB92-F7FA-4100-AAAD-A4E6FDC3F2B7}"/>
                </a:ext>
              </a:extLst>
            </p:cNvPr>
            <p:cNvSpPr>
              <a:spLocks noEditPoints="1"/>
            </p:cNvSpPr>
            <p:nvPr userDrawn="1"/>
          </p:nvSpPr>
          <p:spPr bwMode="auto">
            <a:xfrm>
              <a:off x="2762640" y="1262484"/>
              <a:ext cx="22925" cy="178109"/>
            </a:xfrm>
            <a:custGeom>
              <a:avLst/>
              <a:gdLst>
                <a:gd name="T0" fmla="*/ 0 w 54"/>
                <a:gd name="T1" fmla="*/ 117 h 405"/>
                <a:gd name="T2" fmla="*/ 52 w 54"/>
                <a:gd name="T3" fmla="*/ 117 h 405"/>
                <a:gd name="T4" fmla="*/ 52 w 54"/>
                <a:gd name="T5" fmla="*/ 405 h 405"/>
                <a:gd name="T6" fmla="*/ 0 w 54"/>
                <a:gd name="T7" fmla="*/ 405 h 405"/>
                <a:gd name="T8" fmla="*/ 0 w 54"/>
                <a:gd name="T9" fmla="*/ 117 h 405"/>
                <a:gd name="T10" fmla="*/ 0 w 54"/>
                <a:gd name="T11" fmla="*/ 0 h 405"/>
                <a:gd name="T12" fmla="*/ 54 w 54"/>
                <a:gd name="T13" fmla="*/ 0 h 405"/>
                <a:gd name="T14" fmla="*/ 54 w 54"/>
                <a:gd name="T15" fmla="*/ 60 h 405"/>
                <a:gd name="T16" fmla="*/ 0 w 54"/>
                <a:gd name="T17" fmla="*/ 60 h 405"/>
                <a:gd name="T18" fmla="*/ 0 w 54"/>
                <a:gd name="T19"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5">
                  <a:moveTo>
                    <a:pt x="0" y="117"/>
                  </a:moveTo>
                  <a:lnTo>
                    <a:pt x="52" y="117"/>
                  </a:lnTo>
                  <a:lnTo>
                    <a:pt x="52" y="405"/>
                  </a:lnTo>
                  <a:lnTo>
                    <a:pt x="0" y="405"/>
                  </a:lnTo>
                  <a:lnTo>
                    <a:pt x="0" y="117"/>
                  </a:lnTo>
                  <a:close/>
                  <a:moveTo>
                    <a:pt x="0" y="0"/>
                  </a:moveTo>
                  <a:lnTo>
                    <a:pt x="54" y="0"/>
                  </a:lnTo>
                  <a:lnTo>
                    <a:pt x="54" y="60"/>
                  </a:lnTo>
                  <a:lnTo>
                    <a:pt x="0" y="6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4" name="Freeform 45">
              <a:extLst>
                <a:ext uri="{FF2B5EF4-FFF2-40B4-BE49-F238E27FC236}">
                  <a16:creationId xmlns:a16="http://schemas.microsoft.com/office/drawing/2014/main" id="{A64B999F-9F21-431B-8B98-04953000B575}"/>
                </a:ext>
              </a:extLst>
            </p:cNvPr>
            <p:cNvSpPr>
              <a:spLocks noEditPoints="1"/>
            </p:cNvSpPr>
            <p:nvPr userDrawn="1"/>
          </p:nvSpPr>
          <p:spPr bwMode="auto">
            <a:xfrm>
              <a:off x="2814664" y="1310097"/>
              <a:ext cx="112861" cy="134024"/>
            </a:xfrm>
            <a:custGeom>
              <a:avLst/>
              <a:gdLst>
                <a:gd name="T0" fmla="*/ 139 w 256"/>
                <a:gd name="T1" fmla="*/ 42 h 304"/>
                <a:gd name="T2" fmla="*/ 117 w 256"/>
                <a:gd name="T3" fmla="*/ 46 h 304"/>
                <a:gd name="T4" fmla="*/ 97 w 256"/>
                <a:gd name="T5" fmla="*/ 52 h 304"/>
                <a:gd name="T6" fmla="*/ 79 w 256"/>
                <a:gd name="T7" fmla="*/ 66 h 304"/>
                <a:gd name="T8" fmla="*/ 67 w 256"/>
                <a:gd name="T9" fmla="*/ 82 h 304"/>
                <a:gd name="T10" fmla="*/ 57 w 256"/>
                <a:gd name="T11" fmla="*/ 101 h 304"/>
                <a:gd name="T12" fmla="*/ 51 w 256"/>
                <a:gd name="T13" fmla="*/ 125 h 304"/>
                <a:gd name="T14" fmla="*/ 208 w 256"/>
                <a:gd name="T15" fmla="*/ 125 h 304"/>
                <a:gd name="T16" fmla="*/ 208 w 256"/>
                <a:gd name="T17" fmla="*/ 119 h 304"/>
                <a:gd name="T18" fmla="*/ 206 w 256"/>
                <a:gd name="T19" fmla="*/ 97 h 304"/>
                <a:gd name="T20" fmla="*/ 200 w 256"/>
                <a:gd name="T21" fmla="*/ 78 h 304"/>
                <a:gd name="T22" fmla="*/ 190 w 256"/>
                <a:gd name="T23" fmla="*/ 64 h 304"/>
                <a:gd name="T24" fmla="*/ 176 w 256"/>
                <a:gd name="T25" fmla="*/ 52 h 304"/>
                <a:gd name="T26" fmla="*/ 159 w 256"/>
                <a:gd name="T27" fmla="*/ 46 h 304"/>
                <a:gd name="T28" fmla="*/ 139 w 256"/>
                <a:gd name="T29" fmla="*/ 42 h 304"/>
                <a:gd name="T30" fmla="*/ 137 w 256"/>
                <a:gd name="T31" fmla="*/ 0 h 304"/>
                <a:gd name="T32" fmla="*/ 164 w 256"/>
                <a:gd name="T33" fmla="*/ 2 h 304"/>
                <a:gd name="T34" fmla="*/ 188 w 256"/>
                <a:gd name="T35" fmla="*/ 10 h 304"/>
                <a:gd name="T36" fmla="*/ 210 w 256"/>
                <a:gd name="T37" fmla="*/ 20 h 304"/>
                <a:gd name="T38" fmla="*/ 226 w 256"/>
                <a:gd name="T39" fmla="*/ 36 h 304"/>
                <a:gd name="T40" fmla="*/ 240 w 256"/>
                <a:gd name="T41" fmla="*/ 56 h 304"/>
                <a:gd name="T42" fmla="*/ 250 w 256"/>
                <a:gd name="T43" fmla="*/ 78 h 304"/>
                <a:gd name="T44" fmla="*/ 254 w 256"/>
                <a:gd name="T45" fmla="*/ 103 h 304"/>
                <a:gd name="T46" fmla="*/ 256 w 256"/>
                <a:gd name="T47" fmla="*/ 129 h 304"/>
                <a:gd name="T48" fmla="*/ 254 w 256"/>
                <a:gd name="T49" fmla="*/ 165 h 304"/>
                <a:gd name="T50" fmla="*/ 51 w 256"/>
                <a:gd name="T51" fmla="*/ 165 h 304"/>
                <a:gd name="T52" fmla="*/ 55 w 256"/>
                <a:gd name="T53" fmla="*/ 193 h 304"/>
                <a:gd name="T54" fmla="*/ 65 w 256"/>
                <a:gd name="T55" fmla="*/ 216 h 304"/>
                <a:gd name="T56" fmla="*/ 79 w 256"/>
                <a:gd name="T57" fmla="*/ 234 h 304"/>
                <a:gd name="T58" fmla="*/ 97 w 256"/>
                <a:gd name="T59" fmla="*/ 248 h 304"/>
                <a:gd name="T60" fmla="*/ 123 w 256"/>
                <a:gd name="T61" fmla="*/ 256 h 304"/>
                <a:gd name="T62" fmla="*/ 151 w 256"/>
                <a:gd name="T63" fmla="*/ 260 h 304"/>
                <a:gd name="T64" fmla="*/ 178 w 256"/>
                <a:gd name="T65" fmla="*/ 256 h 304"/>
                <a:gd name="T66" fmla="*/ 204 w 256"/>
                <a:gd name="T67" fmla="*/ 248 h 304"/>
                <a:gd name="T68" fmla="*/ 224 w 256"/>
                <a:gd name="T69" fmla="*/ 236 h 304"/>
                <a:gd name="T70" fmla="*/ 246 w 256"/>
                <a:gd name="T71" fmla="*/ 270 h 304"/>
                <a:gd name="T72" fmla="*/ 226 w 256"/>
                <a:gd name="T73" fmla="*/ 286 h 304"/>
                <a:gd name="T74" fmla="*/ 202 w 256"/>
                <a:gd name="T75" fmla="*/ 296 h 304"/>
                <a:gd name="T76" fmla="*/ 174 w 256"/>
                <a:gd name="T77" fmla="*/ 302 h 304"/>
                <a:gd name="T78" fmla="*/ 147 w 256"/>
                <a:gd name="T79" fmla="*/ 304 h 304"/>
                <a:gd name="T80" fmla="*/ 115 w 256"/>
                <a:gd name="T81" fmla="*/ 302 h 304"/>
                <a:gd name="T82" fmla="*/ 85 w 256"/>
                <a:gd name="T83" fmla="*/ 294 h 304"/>
                <a:gd name="T84" fmla="*/ 61 w 256"/>
                <a:gd name="T85" fmla="*/ 282 h 304"/>
                <a:gd name="T86" fmla="*/ 40 w 256"/>
                <a:gd name="T87" fmla="*/ 264 h 304"/>
                <a:gd name="T88" fmla="*/ 22 w 256"/>
                <a:gd name="T89" fmla="*/ 242 h 304"/>
                <a:gd name="T90" fmla="*/ 10 w 256"/>
                <a:gd name="T91" fmla="*/ 216 h 304"/>
                <a:gd name="T92" fmla="*/ 2 w 256"/>
                <a:gd name="T93" fmla="*/ 185 h 304"/>
                <a:gd name="T94" fmla="*/ 0 w 256"/>
                <a:gd name="T95" fmla="*/ 149 h 304"/>
                <a:gd name="T96" fmla="*/ 2 w 256"/>
                <a:gd name="T97" fmla="*/ 115 h 304"/>
                <a:gd name="T98" fmla="*/ 10 w 256"/>
                <a:gd name="T99" fmla="*/ 86 h 304"/>
                <a:gd name="T100" fmla="*/ 22 w 256"/>
                <a:gd name="T101" fmla="*/ 60 h 304"/>
                <a:gd name="T102" fmla="*/ 40 w 256"/>
                <a:gd name="T103" fmla="*/ 40 h 304"/>
                <a:gd name="T104" fmla="*/ 59 w 256"/>
                <a:gd name="T105" fmla="*/ 22 h 304"/>
                <a:gd name="T106" fmla="*/ 83 w 256"/>
                <a:gd name="T107" fmla="*/ 10 h 304"/>
                <a:gd name="T108" fmla="*/ 109 w 256"/>
                <a:gd name="T109" fmla="*/ 2 h 304"/>
                <a:gd name="T110" fmla="*/ 137 w 256"/>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04">
                  <a:moveTo>
                    <a:pt x="139"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9" y="46"/>
                  </a:lnTo>
                  <a:lnTo>
                    <a:pt x="139" y="42"/>
                  </a:lnTo>
                  <a:close/>
                  <a:moveTo>
                    <a:pt x="137" y="0"/>
                  </a:moveTo>
                  <a:lnTo>
                    <a:pt x="164" y="2"/>
                  </a:lnTo>
                  <a:lnTo>
                    <a:pt x="188" y="10"/>
                  </a:lnTo>
                  <a:lnTo>
                    <a:pt x="210" y="20"/>
                  </a:lnTo>
                  <a:lnTo>
                    <a:pt x="226" y="36"/>
                  </a:lnTo>
                  <a:lnTo>
                    <a:pt x="240" y="56"/>
                  </a:lnTo>
                  <a:lnTo>
                    <a:pt x="250" y="78"/>
                  </a:lnTo>
                  <a:lnTo>
                    <a:pt x="254" y="103"/>
                  </a:lnTo>
                  <a:lnTo>
                    <a:pt x="256" y="129"/>
                  </a:lnTo>
                  <a:lnTo>
                    <a:pt x="254" y="165"/>
                  </a:lnTo>
                  <a:lnTo>
                    <a:pt x="51" y="165"/>
                  </a:lnTo>
                  <a:lnTo>
                    <a:pt x="55" y="193"/>
                  </a:lnTo>
                  <a:lnTo>
                    <a:pt x="65" y="216"/>
                  </a:lnTo>
                  <a:lnTo>
                    <a:pt x="79" y="234"/>
                  </a:lnTo>
                  <a:lnTo>
                    <a:pt x="97" y="248"/>
                  </a:lnTo>
                  <a:lnTo>
                    <a:pt x="123" y="256"/>
                  </a:lnTo>
                  <a:lnTo>
                    <a:pt x="151" y="260"/>
                  </a:lnTo>
                  <a:lnTo>
                    <a:pt x="178" y="256"/>
                  </a:lnTo>
                  <a:lnTo>
                    <a:pt x="204" y="248"/>
                  </a:lnTo>
                  <a:lnTo>
                    <a:pt x="224" y="236"/>
                  </a:lnTo>
                  <a:lnTo>
                    <a:pt x="246" y="270"/>
                  </a:lnTo>
                  <a:lnTo>
                    <a:pt x="226" y="286"/>
                  </a:lnTo>
                  <a:lnTo>
                    <a:pt x="202" y="296"/>
                  </a:lnTo>
                  <a:lnTo>
                    <a:pt x="174" y="302"/>
                  </a:lnTo>
                  <a:lnTo>
                    <a:pt x="147" y="304"/>
                  </a:lnTo>
                  <a:lnTo>
                    <a:pt x="115" y="302"/>
                  </a:lnTo>
                  <a:lnTo>
                    <a:pt x="85" y="294"/>
                  </a:lnTo>
                  <a:lnTo>
                    <a:pt x="61" y="282"/>
                  </a:lnTo>
                  <a:lnTo>
                    <a:pt x="40" y="264"/>
                  </a:lnTo>
                  <a:lnTo>
                    <a:pt x="22" y="242"/>
                  </a:lnTo>
                  <a:lnTo>
                    <a:pt x="10" y="216"/>
                  </a:lnTo>
                  <a:lnTo>
                    <a:pt x="2" y="185"/>
                  </a:lnTo>
                  <a:lnTo>
                    <a:pt x="0" y="149"/>
                  </a:lnTo>
                  <a:lnTo>
                    <a:pt x="2" y="115"/>
                  </a:lnTo>
                  <a:lnTo>
                    <a:pt x="10" y="86"/>
                  </a:lnTo>
                  <a:lnTo>
                    <a:pt x="22" y="60"/>
                  </a:lnTo>
                  <a:lnTo>
                    <a:pt x="40" y="40"/>
                  </a:lnTo>
                  <a:lnTo>
                    <a:pt x="59" y="22"/>
                  </a:lnTo>
                  <a:lnTo>
                    <a:pt x="83" y="10"/>
                  </a:lnTo>
                  <a:lnTo>
                    <a:pt x="109" y="2"/>
                  </a:lnTo>
                  <a:lnTo>
                    <a:pt x="13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5" name="Freeform 46">
              <a:extLst>
                <a:ext uri="{FF2B5EF4-FFF2-40B4-BE49-F238E27FC236}">
                  <a16:creationId xmlns:a16="http://schemas.microsoft.com/office/drawing/2014/main" id="{F13C6D70-3D62-4DB7-BE77-719A3C1D97AB}"/>
                </a:ext>
              </a:extLst>
            </p:cNvPr>
            <p:cNvSpPr>
              <a:spLocks/>
            </p:cNvSpPr>
            <p:nvPr userDrawn="1"/>
          </p:nvSpPr>
          <p:spPr bwMode="auto">
            <a:xfrm>
              <a:off x="2956624" y="1310097"/>
              <a:ext cx="110217" cy="130496"/>
            </a:xfrm>
            <a:custGeom>
              <a:avLst/>
              <a:gdLst>
                <a:gd name="T0" fmla="*/ 149 w 252"/>
                <a:gd name="T1" fmla="*/ 0 h 296"/>
                <a:gd name="T2" fmla="*/ 180 w 252"/>
                <a:gd name="T3" fmla="*/ 2 h 296"/>
                <a:gd name="T4" fmla="*/ 206 w 252"/>
                <a:gd name="T5" fmla="*/ 12 h 296"/>
                <a:gd name="T6" fmla="*/ 226 w 252"/>
                <a:gd name="T7" fmla="*/ 28 h 296"/>
                <a:gd name="T8" fmla="*/ 240 w 252"/>
                <a:gd name="T9" fmla="*/ 50 h 296"/>
                <a:gd name="T10" fmla="*/ 250 w 252"/>
                <a:gd name="T11" fmla="*/ 78 h 296"/>
                <a:gd name="T12" fmla="*/ 252 w 252"/>
                <a:gd name="T13" fmla="*/ 111 h 296"/>
                <a:gd name="T14" fmla="*/ 252 w 252"/>
                <a:gd name="T15" fmla="*/ 296 h 296"/>
                <a:gd name="T16" fmla="*/ 200 w 252"/>
                <a:gd name="T17" fmla="*/ 296 h 296"/>
                <a:gd name="T18" fmla="*/ 200 w 252"/>
                <a:gd name="T19" fmla="*/ 117 h 296"/>
                <a:gd name="T20" fmla="*/ 198 w 252"/>
                <a:gd name="T21" fmla="*/ 94 h 296"/>
                <a:gd name="T22" fmla="*/ 194 w 252"/>
                <a:gd name="T23" fmla="*/ 76 h 296"/>
                <a:gd name="T24" fmla="*/ 184 w 252"/>
                <a:gd name="T25" fmla="*/ 62 h 296"/>
                <a:gd name="T26" fmla="*/ 172 w 252"/>
                <a:gd name="T27" fmla="*/ 52 h 296"/>
                <a:gd name="T28" fmla="*/ 157 w 252"/>
                <a:gd name="T29" fmla="*/ 46 h 296"/>
                <a:gd name="T30" fmla="*/ 137 w 252"/>
                <a:gd name="T31" fmla="*/ 44 h 296"/>
                <a:gd name="T32" fmla="*/ 113 w 252"/>
                <a:gd name="T33" fmla="*/ 48 h 296"/>
                <a:gd name="T34" fmla="*/ 93 w 252"/>
                <a:gd name="T35" fmla="*/ 56 h 296"/>
                <a:gd name="T36" fmla="*/ 75 w 252"/>
                <a:gd name="T37" fmla="*/ 70 h 296"/>
                <a:gd name="T38" fmla="*/ 61 w 252"/>
                <a:gd name="T39" fmla="*/ 90 h 296"/>
                <a:gd name="T40" fmla="*/ 56 w 252"/>
                <a:gd name="T41" fmla="*/ 113 h 296"/>
                <a:gd name="T42" fmla="*/ 52 w 252"/>
                <a:gd name="T43" fmla="*/ 143 h 296"/>
                <a:gd name="T44" fmla="*/ 52 w 252"/>
                <a:gd name="T45" fmla="*/ 296 h 296"/>
                <a:gd name="T46" fmla="*/ 0 w 252"/>
                <a:gd name="T47" fmla="*/ 296 h 296"/>
                <a:gd name="T48" fmla="*/ 0 w 252"/>
                <a:gd name="T49" fmla="*/ 8 h 296"/>
                <a:gd name="T50" fmla="*/ 28 w 252"/>
                <a:gd name="T51" fmla="*/ 8 h 296"/>
                <a:gd name="T52" fmla="*/ 36 w 252"/>
                <a:gd name="T53" fmla="*/ 8 h 296"/>
                <a:gd name="T54" fmla="*/ 42 w 252"/>
                <a:gd name="T55" fmla="*/ 10 h 296"/>
                <a:gd name="T56" fmla="*/ 48 w 252"/>
                <a:gd name="T57" fmla="*/ 14 h 296"/>
                <a:gd name="T58" fmla="*/ 50 w 252"/>
                <a:gd name="T59" fmla="*/ 20 h 296"/>
                <a:gd name="T60" fmla="*/ 52 w 252"/>
                <a:gd name="T61" fmla="*/ 28 h 296"/>
                <a:gd name="T62" fmla="*/ 52 w 252"/>
                <a:gd name="T63" fmla="*/ 52 h 296"/>
                <a:gd name="T64" fmla="*/ 67 w 252"/>
                <a:gd name="T65" fmla="*/ 30 h 296"/>
                <a:gd name="T66" fmla="*/ 89 w 252"/>
                <a:gd name="T67" fmla="*/ 14 h 296"/>
                <a:gd name="T68" fmla="*/ 117 w 252"/>
                <a:gd name="T69" fmla="*/ 4 h 296"/>
                <a:gd name="T70" fmla="*/ 149 w 252"/>
                <a:gd name="T7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96">
                  <a:moveTo>
                    <a:pt x="149" y="0"/>
                  </a:moveTo>
                  <a:lnTo>
                    <a:pt x="180" y="2"/>
                  </a:lnTo>
                  <a:lnTo>
                    <a:pt x="206" y="12"/>
                  </a:lnTo>
                  <a:lnTo>
                    <a:pt x="226" y="28"/>
                  </a:lnTo>
                  <a:lnTo>
                    <a:pt x="240" y="50"/>
                  </a:lnTo>
                  <a:lnTo>
                    <a:pt x="250" y="78"/>
                  </a:lnTo>
                  <a:lnTo>
                    <a:pt x="252" y="111"/>
                  </a:lnTo>
                  <a:lnTo>
                    <a:pt x="252" y="296"/>
                  </a:lnTo>
                  <a:lnTo>
                    <a:pt x="200" y="296"/>
                  </a:lnTo>
                  <a:lnTo>
                    <a:pt x="200" y="117"/>
                  </a:lnTo>
                  <a:lnTo>
                    <a:pt x="198" y="94"/>
                  </a:lnTo>
                  <a:lnTo>
                    <a:pt x="194" y="76"/>
                  </a:lnTo>
                  <a:lnTo>
                    <a:pt x="184" y="62"/>
                  </a:lnTo>
                  <a:lnTo>
                    <a:pt x="172" y="52"/>
                  </a:lnTo>
                  <a:lnTo>
                    <a:pt x="157" y="46"/>
                  </a:lnTo>
                  <a:lnTo>
                    <a:pt x="137" y="44"/>
                  </a:lnTo>
                  <a:lnTo>
                    <a:pt x="113" y="48"/>
                  </a:lnTo>
                  <a:lnTo>
                    <a:pt x="93" y="56"/>
                  </a:lnTo>
                  <a:lnTo>
                    <a:pt x="75" y="70"/>
                  </a:lnTo>
                  <a:lnTo>
                    <a:pt x="61" y="90"/>
                  </a:lnTo>
                  <a:lnTo>
                    <a:pt x="56" y="113"/>
                  </a:lnTo>
                  <a:lnTo>
                    <a:pt x="52" y="143"/>
                  </a:lnTo>
                  <a:lnTo>
                    <a:pt x="52" y="296"/>
                  </a:lnTo>
                  <a:lnTo>
                    <a:pt x="0" y="296"/>
                  </a:lnTo>
                  <a:lnTo>
                    <a:pt x="0" y="8"/>
                  </a:lnTo>
                  <a:lnTo>
                    <a:pt x="28" y="8"/>
                  </a:lnTo>
                  <a:lnTo>
                    <a:pt x="36" y="8"/>
                  </a:lnTo>
                  <a:lnTo>
                    <a:pt x="42" y="10"/>
                  </a:lnTo>
                  <a:lnTo>
                    <a:pt x="48" y="14"/>
                  </a:lnTo>
                  <a:lnTo>
                    <a:pt x="50" y="20"/>
                  </a:lnTo>
                  <a:lnTo>
                    <a:pt x="52" y="28"/>
                  </a:lnTo>
                  <a:lnTo>
                    <a:pt x="52" y="52"/>
                  </a:lnTo>
                  <a:lnTo>
                    <a:pt x="67" y="30"/>
                  </a:lnTo>
                  <a:lnTo>
                    <a:pt x="89" y="14"/>
                  </a:lnTo>
                  <a:lnTo>
                    <a:pt x="117" y="4"/>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6" name="Freeform 47">
              <a:extLst>
                <a:ext uri="{FF2B5EF4-FFF2-40B4-BE49-F238E27FC236}">
                  <a16:creationId xmlns:a16="http://schemas.microsoft.com/office/drawing/2014/main" id="{DB759867-D4C8-4729-B3DE-A3BB4E0E76DC}"/>
                </a:ext>
              </a:extLst>
            </p:cNvPr>
            <p:cNvSpPr>
              <a:spLocks/>
            </p:cNvSpPr>
            <p:nvPr userDrawn="1"/>
          </p:nvSpPr>
          <p:spPr bwMode="auto">
            <a:xfrm>
              <a:off x="3093293" y="1310097"/>
              <a:ext cx="104927" cy="134024"/>
            </a:xfrm>
            <a:custGeom>
              <a:avLst/>
              <a:gdLst>
                <a:gd name="T0" fmla="*/ 149 w 238"/>
                <a:gd name="T1" fmla="*/ 0 h 304"/>
                <a:gd name="T2" fmla="*/ 182 w 238"/>
                <a:gd name="T3" fmla="*/ 2 h 304"/>
                <a:gd name="T4" fmla="*/ 212 w 238"/>
                <a:gd name="T5" fmla="*/ 12 h 304"/>
                <a:gd name="T6" fmla="*/ 236 w 238"/>
                <a:gd name="T7" fmla="*/ 28 h 304"/>
                <a:gd name="T8" fmla="*/ 216 w 238"/>
                <a:gd name="T9" fmla="*/ 64 h 304"/>
                <a:gd name="T10" fmla="*/ 204 w 238"/>
                <a:gd name="T11" fmla="*/ 56 h 304"/>
                <a:gd name="T12" fmla="*/ 188 w 238"/>
                <a:gd name="T13" fmla="*/ 50 h 304"/>
                <a:gd name="T14" fmla="*/ 173 w 238"/>
                <a:gd name="T15" fmla="*/ 46 h 304"/>
                <a:gd name="T16" fmla="*/ 151 w 238"/>
                <a:gd name="T17" fmla="*/ 44 h 304"/>
                <a:gd name="T18" fmla="*/ 123 w 238"/>
                <a:gd name="T19" fmla="*/ 48 h 304"/>
                <a:gd name="T20" fmla="*/ 99 w 238"/>
                <a:gd name="T21" fmla="*/ 56 h 304"/>
                <a:gd name="T22" fmla="*/ 79 w 238"/>
                <a:gd name="T23" fmla="*/ 72 h 304"/>
                <a:gd name="T24" fmla="*/ 66 w 238"/>
                <a:gd name="T25" fmla="*/ 94 h 304"/>
                <a:gd name="T26" fmla="*/ 58 w 238"/>
                <a:gd name="T27" fmla="*/ 119 h 304"/>
                <a:gd name="T28" fmla="*/ 54 w 238"/>
                <a:gd name="T29" fmla="*/ 151 h 304"/>
                <a:gd name="T30" fmla="*/ 58 w 238"/>
                <a:gd name="T31" fmla="*/ 183 h 304"/>
                <a:gd name="T32" fmla="*/ 66 w 238"/>
                <a:gd name="T33" fmla="*/ 210 h 304"/>
                <a:gd name="T34" fmla="*/ 79 w 238"/>
                <a:gd name="T35" fmla="*/ 232 h 304"/>
                <a:gd name="T36" fmla="*/ 99 w 238"/>
                <a:gd name="T37" fmla="*/ 246 h 304"/>
                <a:gd name="T38" fmla="*/ 123 w 238"/>
                <a:gd name="T39" fmla="*/ 256 h 304"/>
                <a:gd name="T40" fmla="*/ 151 w 238"/>
                <a:gd name="T41" fmla="*/ 260 h 304"/>
                <a:gd name="T42" fmla="*/ 186 w 238"/>
                <a:gd name="T43" fmla="*/ 254 h 304"/>
                <a:gd name="T44" fmla="*/ 202 w 238"/>
                <a:gd name="T45" fmla="*/ 248 h 304"/>
                <a:gd name="T46" fmla="*/ 218 w 238"/>
                <a:gd name="T47" fmla="*/ 240 h 304"/>
                <a:gd name="T48" fmla="*/ 238 w 238"/>
                <a:gd name="T49" fmla="*/ 276 h 304"/>
                <a:gd name="T50" fmla="*/ 212 w 238"/>
                <a:gd name="T51" fmla="*/ 292 h 304"/>
                <a:gd name="T52" fmla="*/ 182 w 238"/>
                <a:gd name="T53" fmla="*/ 300 h 304"/>
                <a:gd name="T54" fmla="*/ 147 w 238"/>
                <a:gd name="T55" fmla="*/ 304 h 304"/>
                <a:gd name="T56" fmla="*/ 111 w 238"/>
                <a:gd name="T57" fmla="*/ 302 h 304"/>
                <a:gd name="T58" fmla="*/ 81 w 238"/>
                <a:gd name="T59" fmla="*/ 292 h 304"/>
                <a:gd name="T60" fmla="*/ 58 w 238"/>
                <a:gd name="T61" fmla="*/ 278 h 304"/>
                <a:gd name="T62" fmla="*/ 36 w 238"/>
                <a:gd name="T63" fmla="*/ 260 h 304"/>
                <a:gd name="T64" fmla="*/ 20 w 238"/>
                <a:gd name="T65" fmla="*/ 238 h 304"/>
                <a:gd name="T66" fmla="*/ 10 w 238"/>
                <a:gd name="T67" fmla="*/ 214 h 304"/>
                <a:gd name="T68" fmla="*/ 2 w 238"/>
                <a:gd name="T69" fmla="*/ 185 h 304"/>
                <a:gd name="T70" fmla="*/ 0 w 238"/>
                <a:gd name="T71" fmla="*/ 153 h 304"/>
                <a:gd name="T72" fmla="*/ 4 w 238"/>
                <a:gd name="T73" fmla="*/ 121 h 304"/>
                <a:gd name="T74" fmla="*/ 10 w 238"/>
                <a:gd name="T75" fmla="*/ 90 h 304"/>
                <a:gd name="T76" fmla="*/ 24 w 238"/>
                <a:gd name="T77" fmla="*/ 64 h 304"/>
                <a:gd name="T78" fmla="*/ 40 w 238"/>
                <a:gd name="T79" fmla="*/ 42 h 304"/>
                <a:gd name="T80" fmla="*/ 62 w 238"/>
                <a:gd name="T81" fmla="*/ 24 h 304"/>
                <a:gd name="T82" fmla="*/ 87 w 238"/>
                <a:gd name="T83" fmla="*/ 10 h 304"/>
                <a:gd name="T84" fmla="*/ 115 w 238"/>
                <a:gd name="T85" fmla="*/ 2 h 304"/>
                <a:gd name="T86" fmla="*/ 149 w 238"/>
                <a:gd name="T8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304">
                  <a:moveTo>
                    <a:pt x="149" y="0"/>
                  </a:moveTo>
                  <a:lnTo>
                    <a:pt x="182" y="2"/>
                  </a:lnTo>
                  <a:lnTo>
                    <a:pt x="212" y="12"/>
                  </a:lnTo>
                  <a:lnTo>
                    <a:pt x="236" y="28"/>
                  </a:lnTo>
                  <a:lnTo>
                    <a:pt x="216" y="64"/>
                  </a:lnTo>
                  <a:lnTo>
                    <a:pt x="204" y="56"/>
                  </a:lnTo>
                  <a:lnTo>
                    <a:pt x="188" y="50"/>
                  </a:lnTo>
                  <a:lnTo>
                    <a:pt x="173" y="46"/>
                  </a:lnTo>
                  <a:lnTo>
                    <a:pt x="151" y="44"/>
                  </a:lnTo>
                  <a:lnTo>
                    <a:pt x="123" y="48"/>
                  </a:lnTo>
                  <a:lnTo>
                    <a:pt x="99" y="56"/>
                  </a:lnTo>
                  <a:lnTo>
                    <a:pt x="79" y="72"/>
                  </a:lnTo>
                  <a:lnTo>
                    <a:pt x="66" y="94"/>
                  </a:lnTo>
                  <a:lnTo>
                    <a:pt x="58" y="119"/>
                  </a:lnTo>
                  <a:lnTo>
                    <a:pt x="54" y="151"/>
                  </a:lnTo>
                  <a:lnTo>
                    <a:pt x="58" y="183"/>
                  </a:lnTo>
                  <a:lnTo>
                    <a:pt x="66" y="210"/>
                  </a:lnTo>
                  <a:lnTo>
                    <a:pt x="79" y="232"/>
                  </a:lnTo>
                  <a:lnTo>
                    <a:pt x="99" y="246"/>
                  </a:lnTo>
                  <a:lnTo>
                    <a:pt x="123" y="256"/>
                  </a:lnTo>
                  <a:lnTo>
                    <a:pt x="151" y="260"/>
                  </a:lnTo>
                  <a:lnTo>
                    <a:pt x="186" y="254"/>
                  </a:lnTo>
                  <a:lnTo>
                    <a:pt x="202" y="248"/>
                  </a:lnTo>
                  <a:lnTo>
                    <a:pt x="218" y="240"/>
                  </a:lnTo>
                  <a:lnTo>
                    <a:pt x="238" y="276"/>
                  </a:lnTo>
                  <a:lnTo>
                    <a:pt x="212" y="292"/>
                  </a:lnTo>
                  <a:lnTo>
                    <a:pt x="182" y="300"/>
                  </a:lnTo>
                  <a:lnTo>
                    <a:pt x="147" y="304"/>
                  </a:lnTo>
                  <a:lnTo>
                    <a:pt x="111" y="302"/>
                  </a:lnTo>
                  <a:lnTo>
                    <a:pt x="81" y="292"/>
                  </a:lnTo>
                  <a:lnTo>
                    <a:pt x="58" y="278"/>
                  </a:lnTo>
                  <a:lnTo>
                    <a:pt x="36" y="260"/>
                  </a:lnTo>
                  <a:lnTo>
                    <a:pt x="20" y="238"/>
                  </a:lnTo>
                  <a:lnTo>
                    <a:pt x="10" y="214"/>
                  </a:lnTo>
                  <a:lnTo>
                    <a:pt x="2" y="185"/>
                  </a:lnTo>
                  <a:lnTo>
                    <a:pt x="0" y="153"/>
                  </a:lnTo>
                  <a:lnTo>
                    <a:pt x="4" y="121"/>
                  </a:lnTo>
                  <a:lnTo>
                    <a:pt x="10" y="90"/>
                  </a:lnTo>
                  <a:lnTo>
                    <a:pt x="24" y="64"/>
                  </a:lnTo>
                  <a:lnTo>
                    <a:pt x="40" y="42"/>
                  </a:lnTo>
                  <a:lnTo>
                    <a:pt x="62" y="24"/>
                  </a:lnTo>
                  <a:lnTo>
                    <a:pt x="87" y="10"/>
                  </a:lnTo>
                  <a:lnTo>
                    <a:pt x="115" y="2"/>
                  </a:lnTo>
                  <a:lnTo>
                    <a:pt x="1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7" name="Freeform 48">
              <a:extLst>
                <a:ext uri="{FF2B5EF4-FFF2-40B4-BE49-F238E27FC236}">
                  <a16:creationId xmlns:a16="http://schemas.microsoft.com/office/drawing/2014/main" id="{5FF9C75D-5D85-454F-9DCF-C37421BBAE58}"/>
                </a:ext>
              </a:extLst>
            </p:cNvPr>
            <p:cNvSpPr>
              <a:spLocks noEditPoints="1"/>
            </p:cNvSpPr>
            <p:nvPr userDrawn="1"/>
          </p:nvSpPr>
          <p:spPr bwMode="auto">
            <a:xfrm>
              <a:off x="3209680" y="1310097"/>
              <a:ext cx="112861" cy="134024"/>
            </a:xfrm>
            <a:custGeom>
              <a:avLst/>
              <a:gdLst>
                <a:gd name="T0" fmla="*/ 138 w 255"/>
                <a:gd name="T1" fmla="*/ 42 h 304"/>
                <a:gd name="T2" fmla="*/ 117 w 255"/>
                <a:gd name="T3" fmla="*/ 46 h 304"/>
                <a:gd name="T4" fmla="*/ 97 w 255"/>
                <a:gd name="T5" fmla="*/ 52 h 304"/>
                <a:gd name="T6" fmla="*/ 79 w 255"/>
                <a:gd name="T7" fmla="*/ 66 h 304"/>
                <a:gd name="T8" fmla="*/ 67 w 255"/>
                <a:gd name="T9" fmla="*/ 82 h 304"/>
                <a:gd name="T10" fmla="*/ 57 w 255"/>
                <a:gd name="T11" fmla="*/ 101 h 304"/>
                <a:gd name="T12" fmla="*/ 51 w 255"/>
                <a:gd name="T13" fmla="*/ 125 h 304"/>
                <a:gd name="T14" fmla="*/ 208 w 255"/>
                <a:gd name="T15" fmla="*/ 125 h 304"/>
                <a:gd name="T16" fmla="*/ 208 w 255"/>
                <a:gd name="T17" fmla="*/ 119 h 304"/>
                <a:gd name="T18" fmla="*/ 206 w 255"/>
                <a:gd name="T19" fmla="*/ 97 h 304"/>
                <a:gd name="T20" fmla="*/ 200 w 255"/>
                <a:gd name="T21" fmla="*/ 78 h 304"/>
                <a:gd name="T22" fmla="*/ 190 w 255"/>
                <a:gd name="T23" fmla="*/ 64 h 304"/>
                <a:gd name="T24" fmla="*/ 176 w 255"/>
                <a:gd name="T25" fmla="*/ 52 h 304"/>
                <a:gd name="T26" fmla="*/ 158 w 255"/>
                <a:gd name="T27" fmla="*/ 46 h 304"/>
                <a:gd name="T28" fmla="*/ 138 w 255"/>
                <a:gd name="T29" fmla="*/ 42 h 304"/>
                <a:gd name="T30" fmla="*/ 136 w 255"/>
                <a:gd name="T31" fmla="*/ 0 h 304"/>
                <a:gd name="T32" fmla="*/ 164 w 255"/>
                <a:gd name="T33" fmla="*/ 2 h 304"/>
                <a:gd name="T34" fmla="*/ 188 w 255"/>
                <a:gd name="T35" fmla="*/ 10 h 304"/>
                <a:gd name="T36" fmla="*/ 210 w 255"/>
                <a:gd name="T37" fmla="*/ 20 h 304"/>
                <a:gd name="T38" fmla="*/ 226 w 255"/>
                <a:gd name="T39" fmla="*/ 36 h 304"/>
                <a:gd name="T40" fmla="*/ 240 w 255"/>
                <a:gd name="T41" fmla="*/ 56 h 304"/>
                <a:gd name="T42" fmla="*/ 249 w 255"/>
                <a:gd name="T43" fmla="*/ 78 h 304"/>
                <a:gd name="T44" fmla="*/ 253 w 255"/>
                <a:gd name="T45" fmla="*/ 103 h 304"/>
                <a:gd name="T46" fmla="*/ 255 w 255"/>
                <a:gd name="T47" fmla="*/ 129 h 304"/>
                <a:gd name="T48" fmla="*/ 253 w 255"/>
                <a:gd name="T49" fmla="*/ 165 h 304"/>
                <a:gd name="T50" fmla="*/ 51 w 255"/>
                <a:gd name="T51" fmla="*/ 165 h 304"/>
                <a:gd name="T52" fmla="*/ 55 w 255"/>
                <a:gd name="T53" fmla="*/ 193 h 304"/>
                <a:gd name="T54" fmla="*/ 65 w 255"/>
                <a:gd name="T55" fmla="*/ 216 h 304"/>
                <a:gd name="T56" fmla="*/ 79 w 255"/>
                <a:gd name="T57" fmla="*/ 234 h 304"/>
                <a:gd name="T58" fmla="*/ 97 w 255"/>
                <a:gd name="T59" fmla="*/ 248 h 304"/>
                <a:gd name="T60" fmla="*/ 123 w 255"/>
                <a:gd name="T61" fmla="*/ 256 h 304"/>
                <a:gd name="T62" fmla="*/ 150 w 255"/>
                <a:gd name="T63" fmla="*/ 260 h 304"/>
                <a:gd name="T64" fmla="*/ 178 w 255"/>
                <a:gd name="T65" fmla="*/ 256 h 304"/>
                <a:gd name="T66" fmla="*/ 204 w 255"/>
                <a:gd name="T67" fmla="*/ 248 h 304"/>
                <a:gd name="T68" fmla="*/ 224 w 255"/>
                <a:gd name="T69" fmla="*/ 236 h 304"/>
                <a:gd name="T70" fmla="*/ 245 w 255"/>
                <a:gd name="T71" fmla="*/ 270 h 304"/>
                <a:gd name="T72" fmla="*/ 226 w 255"/>
                <a:gd name="T73" fmla="*/ 286 h 304"/>
                <a:gd name="T74" fmla="*/ 202 w 255"/>
                <a:gd name="T75" fmla="*/ 296 h 304"/>
                <a:gd name="T76" fmla="*/ 174 w 255"/>
                <a:gd name="T77" fmla="*/ 302 h 304"/>
                <a:gd name="T78" fmla="*/ 146 w 255"/>
                <a:gd name="T79" fmla="*/ 304 h 304"/>
                <a:gd name="T80" fmla="*/ 115 w 255"/>
                <a:gd name="T81" fmla="*/ 302 h 304"/>
                <a:gd name="T82" fmla="*/ 85 w 255"/>
                <a:gd name="T83" fmla="*/ 294 h 304"/>
                <a:gd name="T84" fmla="*/ 59 w 255"/>
                <a:gd name="T85" fmla="*/ 282 h 304"/>
                <a:gd name="T86" fmla="*/ 39 w 255"/>
                <a:gd name="T87" fmla="*/ 264 h 304"/>
                <a:gd name="T88" fmla="*/ 22 w 255"/>
                <a:gd name="T89" fmla="*/ 242 h 304"/>
                <a:gd name="T90" fmla="*/ 10 w 255"/>
                <a:gd name="T91" fmla="*/ 216 h 304"/>
                <a:gd name="T92" fmla="*/ 2 w 255"/>
                <a:gd name="T93" fmla="*/ 185 h 304"/>
                <a:gd name="T94" fmla="*/ 0 w 255"/>
                <a:gd name="T95" fmla="*/ 149 h 304"/>
                <a:gd name="T96" fmla="*/ 2 w 255"/>
                <a:gd name="T97" fmla="*/ 115 h 304"/>
                <a:gd name="T98" fmla="*/ 10 w 255"/>
                <a:gd name="T99" fmla="*/ 86 h 304"/>
                <a:gd name="T100" fmla="*/ 22 w 255"/>
                <a:gd name="T101" fmla="*/ 60 h 304"/>
                <a:gd name="T102" fmla="*/ 39 w 255"/>
                <a:gd name="T103" fmla="*/ 40 h 304"/>
                <a:gd name="T104" fmla="*/ 59 w 255"/>
                <a:gd name="T105" fmla="*/ 22 h 304"/>
                <a:gd name="T106" fmla="*/ 83 w 255"/>
                <a:gd name="T107" fmla="*/ 10 h 304"/>
                <a:gd name="T108" fmla="*/ 109 w 255"/>
                <a:gd name="T109" fmla="*/ 2 h 304"/>
                <a:gd name="T110" fmla="*/ 136 w 255"/>
                <a:gd name="T11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304">
                  <a:moveTo>
                    <a:pt x="138" y="42"/>
                  </a:moveTo>
                  <a:lnTo>
                    <a:pt x="117" y="46"/>
                  </a:lnTo>
                  <a:lnTo>
                    <a:pt x="97" y="52"/>
                  </a:lnTo>
                  <a:lnTo>
                    <a:pt x="79" y="66"/>
                  </a:lnTo>
                  <a:lnTo>
                    <a:pt x="67" y="82"/>
                  </a:lnTo>
                  <a:lnTo>
                    <a:pt x="57" y="101"/>
                  </a:lnTo>
                  <a:lnTo>
                    <a:pt x="51" y="125"/>
                  </a:lnTo>
                  <a:lnTo>
                    <a:pt x="208" y="125"/>
                  </a:lnTo>
                  <a:lnTo>
                    <a:pt x="208" y="119"/>
                  </a:lnTo>
                  <a:lnTo>
                    <a:pt x="206" y="97"/>
                  </a:lnTo>
                  <a:lnTo>
                    <a:pt x="200" y="78"/>
                  </a:lnTo>
                  <a:lnTo>
                    <a:pt x="190" y="64"/>
                  </a:lnTo>
                  <a:lnTo>
                    <a:pt x="176" y="52"/>
                  </a:lnTo>
                  <a:lnTo>
                    <a:pt x="158" y="46"/>
                  </a:lnTo>
                  <a:lnTo>
                    <a:pt x="138" y="42"/>
                  </a:lnTo>
                  <a:close/>
                  <a:moveTo>
                    <a:pt x="136" y="0"/>
                  </a:moveTo>
                  <a:lnTo>
                    <a:pt x="164" y="2"/>
                  </a:lnTo>
                  <a:lnTo>
                    <a:pt x="188" y="10"/>
                  </a:lnTo>
                  <a:lnTo>
                    <a:pt x="210" y="20"/>
                  </a:lnTo>
                  <a:lnTo>
                    <a:pt x="226" y="36"/>
                  </a:lnTo>
                  <a:lnTo>
                    <a:pt x="240" y="56"/>
                  </a:lnTo>
                  <a:lnTo>
                    <a:pt x="249" y="78"/>
                  </a:lnTo>
                  <a:lnTo>
                    <a:pt x="253" y="103"/>
                  </a:lnTo>
                  <a:lnTo>
                    <a:pt x="255" y="129"/>
                  </a:lnTo>
                  <a:lnTo>
                    <a:pt x="253" y="165"/>
                  </a:lnTo>
                  <a:lnTo>
                    <a:pt x="51" y="165"/>
                  </a:lnTo>
                  <a:lnTo>
                    <a:pt x="55" y="193"/>
                  </a:lnTo>
                  <a:lnTo>
                    <a:pt x="65" y="216"/>
                  </a:lnTo>
                  <a:lnTo>
                    <a:pt x="79" y="234"/>
                  </a:lnTo>
                  <a:lnTo>
                    <a:pt x="97" y="248"/>
                  </a:lnTo>
                  <a:lnTo>
                    <a:pt x="123" y="256"/>
                  </a:lnTo>
                  <a:lnTo>
                    <a:pt x="150" y="260"/>
                  </a:lnTo>
                  <a:lnTo>
                    <a:pt x="178" y="256"/>
                  </a:lnTo>
                  <a:lnTo>
                    <a:pt x="204" y="248"/>
                  </a:lnTo>
                  <a:lnTo>
                    <a:pt x="224" y="236"/>
                  </a:lnTo>
                  <a:lnTo>
                    <a:pt x="245" y="270"/>
                  </a:lnTo>
                  <a:lnTo>
                    <a:pt x="226" y="286"/>
                  </a:lnTo>
                  <a:lnTo>
                    <a:pt x="202" y="296"/>
                  </a:lnTo>
                  <a:lnTo>
                    <a:pt x="174" y="302"/>
                  </a:lnTo>
                  <a:lnTo>
                    <a:pt x="146" y="304"/>
                  </a:lnTo>
                  <a:lnTo>
                    <a:pt x="115" y="302"/>
                  </a:lnTo>
                  <a:lnTo>
                    <a:pt x="85" y="294"/>
                  </a:lnTo>
                  <a:lnTo>
                    <a:pt x="59" y="282"/>
                  </a:lnTo>
                  <a:lnTo>
                    <a:pt x="39" y="264"/>
                  </a:lnTo>
                  <a:lnTo>
                    <a:pt x="22" y="242"/>
                  </a:lnTo>
                  <a:lnTo>
                    <a:pt x="10" y="216"/>
                  </a:lnTo>
                  <a:lnTo>
                    <a:pt x="2" y="185"/>
                  </a:lnTo>
                  <a:lnTo>
                    <a:pt x="0" y="149"/>
                  </a:lnTo>
                  <a:lnTo>
                    <a:pt x="2" y="115"/>
                  </a:lnTo>
                  <a:lnTo>
                    <a:pt x="10" y="86"/>
                  </a:lnTo>
                  <a:lnTo>
                    <a:pt x="22" y="60"/>
                  </a:lnTo>
                  <a:lnTo>
                    <a:pt x="39" y="40"/>
                  </a:lnTo>
                  <a:lnTo>
                    <a:pt x="59" y="22"/>
                  </a:lnTo>
                  <a:lnTo>
                    <a:pt x="83" y="10"/>
                  </a:lnTo>
                  <a:lnTo>
                    <a:pt x="109" y="2"/>
                  </a:lnTo>
                  <a:lnTo>
                    <a:pt x="13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8" name="Freeform 49">
              <a:extLst>
                <a:ext uri="{FF2B5EF4-FFF2-40B4-BE49-F238E27FC236}">
                  <a16:creationId xmlns:a16="http://schemas.microsoft.com/office/drawing/2014/main" id="{FBBA7A30-E6B2-4186-916B-F3ABACA2D068}"/>
                </a:ext>
              </a:extLst>
            </p:cNvPr>
            <p:cNvSpPr>
              <a:spLocks/>
            </p:cNvSpPr>
            <p:nvPr userDrawn="1"/>
          </p:nvSpPr>
          <p:spPr bwMode="auto">
            <a:xfrm>
              <a:off x="1985837" y="1577266"/>
              <a:ext cx="182519" cy="126969"/>
            </a:xfrm>
            <a:custGeom>
              <a:avLst/>
              <a:gdLst>
                <a:gd name="T0" fmla="*/ 0 w 414"/>
                <a:gd name="T1" fmla="*/ 0 h 287"/>
                <a:gd name="T2" fmla="*/ 56 w 414"/>
                <a:gd name="T3" fmla="*/ 0 h 287"/>
                <a:gd name="T4" fmla="*/ 117 w 414"/>
                <a:gd name="T5" fmla="*/ 232 h 287"/>
                <a:gd name="T6" fmla="*/ 185 w 414"/>
                <a:gd name="T7" fmla="*/ 22 h 287"/>
                <a:gd name="T8" fmla="*/ 236 w 414"/>
                <a:gd name="T9" fmla="*/ 22 h 287"/>
                <a:gd name="T10" fmla="*/ 301 w 414"/>
                <a:gd name="T11" fmla="*/ 236 h 287"/>
                <a:gd name="T12" fmla="*/ 363 w 414"/>
                <a:gd name="T13" fmla="*/ 0 h 287"/>
                <a:gd name="T14" fmla="*/ 414 w 414"/>
                <a:gd name="T15" fmla="*/ 0 h 287"/>
                <a:gd name="T16" fmla="*/ 325 w 414"/>
                <a:gd name="T17" fmla="*/ 287 h 287"/>
                <a:gd name="T18" fmla="*/ 274 w 414"/>
                <a:gd name="T19" fmla="*/ 287 h 287"/>
                <a:gd name="T20" fmla="*/ 208 w 414"/>
                <a:gd name="T21" fmla="*/ 81 h 287"/>
                <a:gd name="T22" fmla="*/ 141 w 414"/>
                <a:gd name="T23" fmla="*/ 287 h 287"/>
                <a:gd name="T24" fmla="*/ 89 w 414"/>
                <a:gd name="T25" fmla="*/ 287 h 287"/>
                <a:gd name="T26" fmla="*/ 0 w 414"/>
                <a:gd name="T2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4" h="287">
                  <a:moveTo>
                    <a:pt x="0" y="0"/>
                  </a:moveTo>
                  <a:lnTo>
                    <a:pt x="56" y="0"/>
                  </a:lnTo>
                  <a:lnTo>
                    <a:pt x="117" y="232"/>
                  </a:lnTo>
                  <a:lnTo>
                    <a:pt x="185" y="22"/>
                  </a:lnTo>
                  <a:lnTo>
                    <a:pt x="236" y="22"/>
                  </a:lnTo>
                  <a:lnTo>
                    <a:pt x="301" y="236"/>
                  </a:lnTo>
                  <a:lnTo>
                    <a:pt x="363" y="0"/>
                  </a:lnTo>
                  <a:lnTo>
                    <a:pt x="414" y="0"/>
                  </a:lnTo>
                  <a:lnTo>
                    <a:pt x="325" y="287"/>
                  </a:lnTo>
                  <a:lnTo>
                    <a:pt x="274" y="287"/>
                  </a:lnTo>
                  <a:lnTo>
                    <a:pt x="208" y="81"/>
                  </a:lnTo>
                  <a:lnTo>
                    <a:pt x="141" y="287"/>
                  </a:lnTo>
                  <a:lnTo>
                    <a:pt x="89" y="28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29" name="Freeform 50">
              <a:extLst>
                <a:ext uri="{FF2B5EF4-FFF2-40B4-BE49-F238E27FC236}">
                  <a16:creationId xmlns:a16="http://schemas.microsoft.com/office/drawing/2014/main" id="{E3102B97-83CC-49D5-9E81-DFDC6C47872E}"/>
                </a:ext>
              </a:extLst>
            </p:cNvPr>
            <p:cNvSpPr>
              <a:spLocks/>
            </p:cNvSpPr>
            <p:nvPr userDrawn="1"/>
          </p:nvSpPr>
          <p:spPr bwMode="auto">
            <a:xfrm>
              <a:off x="2188636" y="1522596"/>
              <a:ext cx="110217" cy="181637"/>
            </a:xfrm>
            <a:custGeom>
              <a:avLst/>
              <a:gdLst>
                <a:gd name="T0" fmla="*/ 0 w 252"/>
                <a:gd name="T1" fmla="*/ 0 h 412"/>
                <a:gd name="T2" fmla="*/ 52 w 252"/>
                <a:gd name="T3" fmla="*/ 0 h 412"/>
                <a:gd name="T4" fmla="*/ 52 w 252"/>
                <a:gd name="T5" fmla="*/ 166 h 412"/>
                <a:gd name="T6" fmla="*/ 67 w 252"/>
                <a:gd name="T7" fmla="*/ 147 h 412"/>
                <a:gd name="T8" fmla="*/ 89 w 252"/>
                <a:gd name="T9" fmla="*/ 131 h 412"/>
                <a:gd name="T10" fmla="*/ 117 w 252"/>
                <a:gd name="T11" fmla="*/ 121 h 412"/>
                <a:gd name="T12" fmla="*/ 149 w 252"/>
                <a:gd name="T13" fmla="*/ 117 h 412"/>
                <a:gd name="T14" fmla="*/ 178 w 252"/>
                <a:gd name="T15" fmla="*/ 121 h 412"/>
                <a:gd name="T16" fmla="*/ 204 w 252"/>
                <a:gd name="T17" fmla="*/ 129 h 412"/>
                <a:gd name="T18" fmla="*/ 224 w 252"/>
                <a:gd name="T19" fmla="*/ 145 h 412"/>
                <a:gd name="T20" fmla="*/ 240 w 252"/>
                <a:gd name="T21" fmla="*/ 166 h 412"/>
                <a:gd name="T22" fmla="*/ 248 w 252"/>
                <a:gd name="T23" fmla="*/ 194 h 412"/>
                <a:gd name="T24" fmla="*/ 252 w 252"/>
                <a:gd name="T25" fmla="*/ 228 h 412"/>
                <a:gd name="T26" fmla="*/ 252 w 252"/>
                <a:gd name="T27" fmla="*/ 412 h 412"/>
                <a:gd name="T28" fmla="*/ 200 w 252"/>
                <a:gd name="T29" fmla="*/ 412 h 412"/>
                <a:gd name="T30" fmla="*/ 200 w 252"/>
                <a:gd name="T31" fmla="*/ 234 h 412"/>
                <a:gd name="T32" fmla="*/ 198 w 252"/>
                <a:gd name="T33" fmla="*/ 210 h 412"/>
                <a:gd name="T34" fmla="*/ 192 w 252"/>
                <a:gd name="T35" fmla="*/ 192 h 412"/>
                <a:gd name="T36" fmla="*/ 184 w 252"/>
                <a:gd name="T37" fmla="*/ 178 h 412"/>
                <a:gd name="T38" fmla="*/ 172 w 252"/>
                <a:gd name="T39" fmla="*/ 168 h 412"/>
                <a:gd name="T40" fmla="*/ 157 w 252"/>
                <a:gd name="T41" fmla="*/ 162 h 412"/>
                <a:gd name="T42" fmla="*/ 137 w 252"/>
                <a:gd name="T43" fmla="*/ 160 h 412"/>
                <a:gd name="T44" fmla="*/ 113 w 252"/>
                <a:gd name="T45" fmla="*/ 164 h 412"/>
                <a:gd name="T46" fmla="*/ 91 w 252"/>
                <a:gd name="T47" fmla="*/ 172 h 412"/>
                <a:gd name="T48" fmla="*/ 75 w 252"/>
                <a:gd name="T49" fmla="*/ 186 h 412"/>
                <a:gd name="T50" fmla="*/ 61 w 252"/>
                <a:gd name="T51" fmla="*/ 206 h 412"/>
                <a:gd name="T52" fmla="*/ 54 w 252"/>
                <a:gd name="T53" fmla="*/ 230 h 412"/>
                <a:gd name="T54" fmla="*/ 52 w 252"/>
                <a:gd name="T55" fmla="*/ 259 h 412"/>
                <a:gd name="T56" fmla="*/ 52 w 252"/>
                <a:gd name="T57" fmla="*/ 412 h 412"/>
                <a:gd name="T58" fmla="*/ 0 w 252"/>
                <a:gd name="T59" fmla="*/ 412 h 412"/>
                <a:gd name="T60" fmla="*/ 0 w 252"/>
                <a:gd name="T61"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2" h="412">
                  <a:moveTo>
                    <a:pt x="0" y="0"/>
                  </a:moveTo>
                  <a:lnTo>
                    <a:pt x="52" y="0"/>
                  </a:lnTo>
                  <a:lnTo>
                    <a:pt x="52" y="166"/>
                  </a:lnTo>
                  <a:lnTo>
                    <a:pt x="67" y="147"/>
                  </a:lnTo>
                  <a:lnTo>
                    <a:pt x="89" y="131"/>
                  </a:lnTo>
                  <a:lnTo>
                    <a:pt x="117" y="121"/>
                  </a:lnTo>
                  <a:lnTo>
                    <a:pt x="149" y="117"/>
                  </a:lnTo>
                  <a:lnTo>
                    <a:pt x="178" y="121"/>
                  </a:lnTo>
                  <a:lnTo>
                    <a:pt x="204" y="129"/>
                  </a:lnTo>
                  <a:lnTo>
                    <a:pt x="224" y="145"/>
                  </a:lnTo>
                  <a:lnTo>
                    <a:pt x="240" y="166"/>
                  </a:lnTo>
                  <a:lnTo>
                    <a:pt x="248" y="194"/>
                  </a:lnTo>
                  <a:lnTo>
                    <a:pt x="252" y="228"/>
                  </a:lnTo>
                  <a:lnTo>
                    <a:pt x="252" y="412"/>
                  </a:lnTo>
                  <a:lnTo>
                    <a:pt x="200" y="412"/>
                  </a:lnTo>
                  <a:lnTo>
                    <a:pt x="200" y="234"/>
                  </a:lnTo>
                  <a:lnTo>
                    <a:pt x="198" y="210"/>
                  </a:lnTo>
                  <a:lnTo>
                    <a:pt x="192" y="192"/>
                  </a:lnTo>
                  <a:lnTo>
                    <a:pt x="184" y="178"/>
                  </a:lnTo>
                  <a:lnTo>
                    <a:pt x="172" y="168"/>
                  </a:lnTo>
                  <a:lnTo>
                    <a:pt x="157" y="162"/>
                  </a:lnTo>
                  <a:lnTo>
                    <a:pt x="137" y="160"/>
                  </a:lnTo>
                  <a:lnTo>
                    <a:pt x="113" y="164"/>
                  </a:lnTo>
                  <a:lnTo>
                    <a:pt x="91" y="172"/>
                  </a:lnTo>
                  <a:lnTo>
                    <a:pt x="75" y="186"/>
                  </a:lnTo>
                  <a:lnTo>
                    <a:pt x="61" y="206"/>
                  </a:lnTo>
                  <a:lnTo>
                    <a:pt x="54" y="230"/>
                  </a:lnTo>
                  <a:lnTo>
                    <a:pt x="52" y="259"/>
                  </a:lnTo>
                  <a:lnTo>
                    <a:pt x="52" y="412"/>
                  </a:lnTo>
                  <a:lnTo>
                    <a:pt x="0" y="412"/>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0" name="Freeform 51">
              <a:extLst>
                <a:ext uri="{FF2B5EF4-FFF2-40B4-BE49-F238E27FC236}">
                  <a16:creationId xmlns:a16="http://schemas.microsoft.com/office/drawing/2014/main" id="{6563EE6B-15B0-4EE9-9449-E7BAB53946F9}"/>
                </a:ext>
              </a:extLst>
            </p:cNvPr>
            <p:cNvSpPr>
              <a:spLocks noEditPoints="1"/>
            </p:cNvSpPr>
            <p:nvPr userDrawn="1"/>
          </p:nvSpPr>
          <p:spPr bwMode="auto">
            <a:xfrm>
              <a:off x="2325304" y="1573735"/>
              <a:ext cx="114625" cy="134024"/>
            </a:xfrm>
            <a:custGeom>
              <a:avLst/>
              <a:gdLst>
                <a:gd name="T0" fmla="*/ 89 w 260"/>
                <a:gd name="T1" fmla="*/ 164 h 303"/>
                <a:gd name="T2" fmla="*/ 54 w 260"/>
                <a:gd name="T3" fmla="*/ 190 h 303"/>
                <a:gd name="T4" fmla="*/ 54 w 260"/>
                <a:gd name="T5" fmla="*/ 232 h 303"/>
                <a:gd name="T6" fmla="*/ 79 w 260"/>
                <a:gd name="T7" fmla="*/ 255 h 303"/>
                <a:gd name="T8" fmla="*/ 123 w 260"/>
                <a:gd name="T9" fmla="*/ 257 h 303"/>
                <a:gd name="T10" fmla="*/ 147 w 260"/>
                <a:gd name="T11" fmla="*/ 248 h 303"/>
                <a:gd name="T12" fmla="*/ 163 w 260"/>
                <a:gd name="T13" fmla="*/ 236 h 303"/>
                <a:gd name="T14" fmla="*/ 173 w 260"/>
                <a:gd name="T15" fmla="*/ 220 h 303"/>
                <a:gd name="T16" fmla="*/ 182 w 260"/>
                <a:gd name="T17" fmla="*/ 176 h 303"/>
                <a:gd name="T18" fmla="*/ 119 w 260"/>
                <a:gd name="T19" fmla="*/ 162 h 303"/>
                <a:gd name="T20" fmla="*/ 163 w 260"/>
                <a:gd name="T21" fmla="*/ 6 h 303"/>
                <a:gd name="T22" fmla="*/ 198 w 260"/>
                <a:gd name="T23" fmla="*/ 24 h 303"/>
                <a:gd name="T24" fmla="*/ 222 w 260"/>
                <a:gd name="T25" fmla="*/ 55 h 303"/>
                <a:gd name="T26" fmla="*/ 230 w 260"/>
                <a:gd name="T27" fmla="*/ 107 h 303"/>
                <a:gd name="T28" fmla="*/ 232 w 260"/>
                <a:gd name="T29" fmla="*/ 244 h 303"/>
                <a:gd name="T30" fmla="*/ 236 w 260"/>
                <a:gd name="T31" fmla="*/ 253 h 303"/>
                <a:gd name="T32" fmla="*/ 246 w 260"/>
                <a:gd name="T33" fmla="*/ 257 h 303"/>
                <a:gd name="T34" fmla="*/ 260 w 260"/>
                <a:gd name="T35" fmla="*/ 257 h 303"/>
                <a:gd name="T36" fmla="*/ 254 w 260"/>
                <a:gd name="T37" fmla="*/ 295 h 303"/>
                <a:gd name="T38" fmla="*/ 234 w 260"/>
                <a:gd name="T39" fmla="*/ 297 h 303"/>
                <a:gd name="T40" fmla="*/ 200 w 260"/>
                <a:gd name="T41" fmla="*/ 285 h 303"/>
                <a:gd name="T42" fmla="*/ 188 w 260"/>
                <a:gd name="T43" fmla="*/ 251 h 303"/>
                <a:gd name="T44" fmla="*/ 153 w 260"/>
                <a:gd name="T45" fmla="*/ 289 h 303"/>
                <a:gd name="T46" fmla="*/ 95 w 260"/>
                <a:gd name="T47" fmla="*/ 303 h 303"/>
                <a:gd name="T48" fmla="*/ 54 w 260"/>
                <a:gd name="T49" fmla="*/ 295 h 303"/>
                <a:gd name="T50" fmla="*/ 34 w 260"/>
                <a:gd name="T51" fmla="*/ 285 h 303"/>
                <a:gd name="T52" fmla="*/ 18 w 260"/>
                <a:gd name="T53" fmla="*/ 269 h 303"/>
                <a:gd name="T54" fmla="*/ 6 w 260"/>
                <a:gd name="T55" fmla="*/ 249 h 303"/>
                <a:gd name="T56" fmla="*/ 0 w 260"/>
                <a:gd name="T57" fmla="*/ 214 h 303"/>
                <a:gd name="T58" fmla="*/ 10 w 260"/>
                <a:gd name="T59" fmla="*/ 172 h 303"/>
                <a:gd name="T60" fmla="*/ 26 w 260"/>
                <a:gd name="T61" fmla="*/ 152 h 303"/>
                <a:gd name="T62" fmla="*/ 54 w 260"/>
                <a:gd name="T63" fmla="*/ 137 h 303"/>
                <a:gd name="T64" fmla="*/ 119 w 260"/>
                <a:gd name="T65" fmla="*/ 125 h 303"/>
                <a:gd name="T66" fmla="*/ 182 w 260"/>
                <a:gd name="T67" fmla="*/ 107 h 303"/>
                <a:gd name="T68" fmla="*/ 167 w 260"/>
                <a:gd name="T69" fmla="*/ 59 h 303"/>
                <a:gd name="T70" fmla="*/ 137 w 260"/>
                <a:gd name="T71" fmla="*/ 43 h 303"/>
                <a:gd name="T72" fmla="*/ 91 w 260"/>
                <a:gd name="T73" fmla="*/ 43 h 303"/>
                <a:gd name="T74" fmla="*/ 50 w 260"/>
                <a:gd name="T75" fmla="*/ 57 h 303"/>
                <a:gd name="T76" fmla="*/ 8 w 260"/>
                <a:gd name="T77" fmla="*/ 35 h 303"/>
                <a:gd name="T78" fmla="*/ 60 w 260"/>
                <a:gd name="T79" fmla="*/ 8 h 303"/>
                <a:gd name="T80" fmla="*/ 119 w 260"/>
                <a:gd name="T8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303">
                  <a:moveTo>
                    <a:pt x="119" y="162"/>
                  </a:moveTo>
                  <a:lnTo>
                    <a:pt x="89" y="164"/>
                  </a:lnTo>
                  <a:lnTo>
                    <a:pt x="68" y="174"/>
                  </a:lnTo>
                  <a:lnTo>
                    <a:pt x="54" y="190"/>
                  </a:lnTo>
                  <a:lnTo>
                    <a:pt x="50" y="212"/>
                  </a:lnTo>
                  <a:lnTo>
                    <a:pt x="54" y="232"/>
                  </a:lnTo>
                  <a:lnTo>
                    <a:pt x="64" y="248"/>
                  </a:lnTo>
                  <a:lnTo>
                    <a:pt x="79" y="255"/>
                  </a:lnTo>
                  <a:lnTo>
                    <a:pt x="105" y="259"/>
                  </a:lnTo>
                  <a:lnTo>
                    <a:pt x="123" y="257"/>
                  </a:lnTo>
                  <a:lnTo>
                    <a:pt x="137" y="253"/>
                  </a:lnTo>
                  <a:lnTo>
                    <a:pt x="147" y="248"/>
                  </a:lnTo>
                  <a:lnTo>
                    <a:pt x="155" y="244"/>
                  </a:lnTo>
                  <a:lnTo>
                    <a:pt x="163" y="236"/>
                  </a:lnTo>
                  <a:lnTo>
                    <a:pt x="169" y="228"/>
                  </a:lnTo>
                  <a:lnTo>
                    <a:pt x="173" y="220"/>
                  </a:lnTo>
                  <a:lnTo>
                    <a:pt x="177" y="210"/>
                  </a:lnTo>
                  <a:lnTo>
                    <a:pt x="182" y="176"/>
                  </a:lnTo>
                  <a:lnTo>
                    <a:pt x="182" y="162"/>
                  </a:lnTo>
                  <a:lnTo>
                    <a:pt x="119" y="162"/>
                  </a:lnTo>
                  <a:close/>
                  <a:moveTo>
                    <a:pt x="119" y="0"/>
                  </a:moveTo>
                  <a:lnTo>
                    <a:pt x="163" y="6"/>
                  </a:lnTo>
                  <a:lnTo>
                    <a:pt x="180" y="12"/>
                  </a:lnTo>
                  <a:lnTo>
                    <a:pt x="198" y="24"/>
                  </a:lnTo>
                  <a:lnTo>
                    <a:pt x="212" y="37"/>
                  </a:lnTo>
                  <a:lnTo>
                    <a:pt x="222" y="55"/>
                  </a:lnTo>
                  <a:lnTo>
                    <a:pt x="228" y="79"/>
                  </a:lnTo>
                  <a:lnTo>
                    <a:pt x="230" y="107"/>
                  </a:lnTo>
                  <a:lnTo>
                    <a:pt x="230" y="236"/>
                  </a:lnTo>
                  <a:lnTo>
                    <a:pt x="232" y="244"/>
                  </a:lnTo>
                  <a:lnTo>
                    <a:pt x="232" y="249"/>
                  </a:lnTo>
                  <a:lnTo>
                    <a:pt x="236" y="253"/>
                  </a:lnTo>
                  <a:lnTo>
                    <a:pt x="240" y="255"/>
                  </a:lnTo>
                  <a:lnTo>
                    <a:pt x="246" y="257"/>
                  </a:lnTo>
                  <a:lnTo>
                    <a:pt x="254" y="257"/>
                  </a:lnTo>
                  <a:lnTo>
                    <a:pt x="260" y="257"/>
                  </a:lnTo>
                  <a:lnTo>
                    <a:pt x="260" y="293"/>
                  </a:lnTo>
                  <a:lnTo>
                    <a:pt x="254" y="295"/>
                  </a:lnTo>
                  <a:lnTo>
                    <a:pt x="248" y="297"/>
                  </a:lnTo>
                  <a:lnTo>
                    <a:pt x="234" y="297"/>
                  </a:lnTo>
                  <a:lnTo>
                    <a:pt x="214" y="295"/>
                  </a:lnTo>
                  <a:lnTo>
                    <a:pt x="200" y="285"/>
                  </a:lnTo>
                  <a:lnTo>
                    <a:pt x="192" y="271"/>
                  </a:lnTo>
                  <a:lnTo>
                    <a:pt x="188" y="251"/>
                  </a:lnTo>
                  <a:lnTo>
                    <a:pt x="173" y="273"/>
                  </a:lnTo>
                  <a:lnTo>
                    <a:pt x="153" y="289"/>
                  </a:lnTo>
                  <a:lnTo>
                    <a:pt x="125" y="299"/>
                  </a:lnTo>
                  <a:lnTo>
                    <a:pt x="95" y="303"/>
                  </a:lnTo>
                  <a:lnTo>
                    <a:pt x="73" y="301"/>
                  </a:lnTo>
                  <a:lnTo>
                    <a:pt x="54" y="295"/>
                  </a:lnTo>
                  <a:lnTo>
                    <a:pt x="44" y="291"/>
                  </a:lnTo>
                  <a:lnTo>
                    <a:pt x="34" y="285"/>
                  </a:lnTo>
                  <a:lnTo>
                    <a:pt x="24" y="277"/>
                  </a:lnTo>
                  <a:lnTo>
                    <a:pt x="18" y="269"/>
                  </a:lnTo>
                  <a:lnTo>
                    <a:pt x="12" y="259"/>
                  </a:lnTo>
                  <a:lnTo>
                    <a:pt x="6" y="249"/>
                  </a:lnTo>
                  <a:lnTo>
                    <a:pt x="2" y="232"/>
                  </a:lnTo>
                  <a:lnTo>
                    <a:pt x="0" y="214"/>
                  </a:lnTo>
                  <a:lnTo>
                    <a:pt x="2" y="192"/>
                  </a:lnTo>
                  <a:lnTo>
                    <a:pt x="10" y="172"/>
                  </a:lnTo>
                  <a:lnTo>
                    <a:pt x="18" y="162"/>
                  </a:lnTo>
                  <a:lnTo>
                    <a:pt x="26" y="152"/>
                  </a:lnTo>
                  <a:lnTo>
                    <a:pt x="36" y="144"/>
                  </a:lnTo>
                  <a:lnTo>
                    <a:pt x="54" y="137"/>
                  </a:lnTo>
                  <a:lnTo>
                    <a:pt x="73" y="129"/>
                  </a:lnTo>
                  <a:lnTo>
                    <a:pt x="119" y="125"/>
                  </a:lnTo>
                  <a:lnTo>
                    <a:pt x="182" y="125"/>
                  </a:lnTo>
                  <a:lnTo>
                    <a:pt x="182" y="107"/>
                  </a:lnTo>
                  <a:lnTo>
                    <a:pt x="179" y="79"/>
                  </a:lnTo>
                  <a:lnTo>
                    <a:pt x="167" y="59"/>
                  </a:lnTo>
                  <a:lnTo>
                    <a:pt x="155" y="49"/>
                  </a:lnTo>
                  <a:lnTo>
                    <a:pt x="137" y="43"/>
                  </a:lnTo>
                  <a:lnTo>
                    <a:pt x="113" y="43"/>
                  </a:lnTo>
                  <a:lnTo>
                    <a:pt x="91" y="43"/>
                  </a:lnTo>
                  <a:lnTo>
                    <a:pt x="70" y="49"/>
                  </a:lnTo>
                  <a:lnTo>
                    <a:pt x="50" y="57"/>
                  </a:lnTo>
                  <a:lnTo>
                    <a:pt x="30" y="69"/>
                  </a:lnTo>
                  <a:lnTo>
                    <a:pt x="8" y="35"/>
                  </a:lnTo>
                  <a:lnTo>
                    <a:pt x="32" y="20"/>
                  </a:lnTo>
                  <a:lnTo>
                    <a:pt x="60" y="8"/>
                  </a:lnTo>
                  <a:lnTo>
                    <a:pt x="87" y="2"/>
                  </a:lnTo>
                  <a:lnTo>
                    <a:pt x="11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1" name="Freeform 52">
              <a:extLst>
                <a:ext uri="{FF2B5EF4-FFF2-40B4-BE49-F238E27FC236}">
                  <a16:creationId xmlns:a16="http://schemas.microsoft.com/office/drawing/2014/main" id="{1B8C01E3-3BF7-471D-904D-40FF402E29AA}"/>
                </a:ext>
              </a:extLst>
            </p:cNvPr>
            <p:cNvSpPr>
              <a:spLocks/>
            </p:cNvSpPr>
            <p:nvPr userDrawn="1"/>
          </p:nvSpPr>
          <p:spPr bwMode="auto">
            <a:xfrm>
              <a:off x="2450508" y="1545523"/>
              <a:ext cx="75829" cy="160476"/>
            </a:xfrm>
            <a:custGeom>
              <a:avLst/>
              <a:gdLst>
                <a:gd name="T0" fmla="*/ 49 w 172"/>
                <a:gd name="T1" fmla="*/ 0 h 365"/>
                <a:gd name="T2" fmla="*/ 101 w 172"/>
                <a:gd name="T3" fmla="*/ 0 h 365"/>
                <a:gd name="T4" fmla="*/ 101 w 172"/>
                <a:gd name="T5" fmla="*/ 74 h 365"/>
                <a:gd name="T6" fmla="*/ 172 w 172"/>
                <a:gd name="T7" fmla="*/ 74 h 365"/>
                <a:gd name="T8" fmla="*/ 172 w 172"/>
                <a:gd name="T9" fmla="*/ 115 h 365"/>
                <a:gd name="T10" fmla="*/ 101 w 172"/>
                <a:gd name="T11" fmla="*/ 115 h 365"/>
                <a:gd name="T12" fmla="*/ 101 w 172"/>
                <a:gd name="T13" fmla="*/ 270 h 365"/>
                <a:gd name="T14" fmla="*/ 101 w 172"/>
                <a:gd name="T15" fmla="*/ 288 h 365"/>
                <a:gd name="T16" fmla="*/ 105 w 172"/>
                <a:gd name="T17" fmla="*/ 302 h 365"/>
                <a:gd name="T18" fmla="*/ 113 w 172"/>
                <a:gd name="T19" fmla="*/ 312 h 365"/>
                <a:gd name="T20" fmla="*/ 130 w 172"/>
                <a:gd name="T21" fmla="*/ 319 h 365"/>
                <a:gd name="T22" fmla="*/ 158 w 172"/>
                <a:gd name="T23" fmla="*/ 321 h 365"/>
                <a:gd name="T24" fmla="*/ 172 w 172"/>
                <a:gd name="T25" fmla="*/ 321 h 365"/>
                <a:gd name="T26" fmla="*/ 172 w 172"/>
                <a:gd name="T27" fmla="*/ 361 h 365"/>
                <a:gd name="T28" fmla="*/ 156 w 172"/>
                <a:gd name="T29" fmla="*/ 363 h 365"/>
                <a:gd name="T30" fmla="*/ 148 w 172"/>
                <a:gd name="T31" fmla="*/ 363 h 365"/>
                <a:gd name="T32" fmla="*/ 140 w 172"/>
                <a:gd name="T33" fmla="*/ 365 h 365"/>
                <a:gd name="T34" fmla="*/ 111 w 172"/>
                <a:gd name="T35" fmla="*/ 361 h 365"/>
                <a:gd name="T36" fmla="*/ 87 w 172"/>
                <a:gd name="T37" fmla="*/ 353 h 365"/>
                <a:gd name="T38" fmla="*/ 71 w 172"/>
                <a:gd name="T39" fmla="*/ 341 h 365"/>
                <a:gd name="T40" fmla="*/ 57 w 172"/>
                <a:gd name="T41" fmla="*/ 321 h 365"/>
                <a:gd name="T42" fmla="*/ 51 w 172"/>
                <a:gd name="T43" fmla="*/ 298 h 365"/>
                <a:gd name="T44" fmla="*/ 49 w 172"/>
                <a:gd name="T45" fmla="*/ 264 h 365"/>
                <a:gd name="T46" fmla="*/ 49 w 172"/>
                <a:gd name="T47" fmla="*/ 115 h 365"/>
                <a:gd name="T48" fmla="*/ 0 w 172"/>
                <a:gd name="T49" fmla="*/ 115 h 365"/>
                <a:gd name="T50" fmla="*/ 0 w 172"/>
                <a:gd name="T51" fmla="*/ 74 h 365"/>
                <a:gd name="T52" fmla="*/ 49 w 172"/>
                <a:gd name="T53" fmla="*/ 74 h 365"/>
                <a:gd name="T54" fmla="*/ 49 w 172"/>
                <a:gd name="T5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 h="365">
                  <a:moveTo>
                    <a:pt x="49" y="0"/>
                  </a:moveTo>
                  <a:lnTo>
                    <a:pt x="101" y="0"/>
                  </a:lnTo>
                  <a:lnTo>
                    <a:pt x="101" y="74"/>
                  </a:lnTo>
                  <a:lnTo>
                    <a:pt x="172" y="74"/>
                  </a:lnTo>
                  <a:lnTo>
                    <a:pt x="172" y="115"/>
                  </a:lnTo>
                  <a:lnTo>
                    <a:pt x="101" y="115"/>
                  </a:lnTo>
                  <a:lnTo>
                    <a:pt x="101" y="270"/>
                  </a:lnTo>
                  <a:lnTo>
                    <a:pt x="101" y="288"/>
                  </a:lnTo>
                  <a:lnTo>
                    <a:pt x="105" y="302"/>
                  </a:lnTo>
                  <a:lnTo>
                    <a:pt x="113" y="312"/>
                  </a:lnTo>
                  <a:lnTo>
                    <a:pt x="130" y="319"/>
                  </a:lnTo>
                  <a:lnTo>
                    <a:pt x="158" y="321"/>
                  </a:lnTo>
                  <a:lnTo>
                    <a:pt x="172" y="321"/>
                  </a:lnTo>
                  <a:lnTo>
                    <a:pt x="172" y="361"/>
                  </a:lnTo>
                  <a:lnTo>
                    <a:pt x="156" y="363"/>
                  </a:lnTo>
                  <a:lnTo>
                    <a:pt x="148" y="363"/>
                  </a:lnTo>
                  <a:lnTo>
                    <a:pt x="140" y="365"/>
                  </a:lnTo>
                  <a:lnTo>
                    <a:pt x="111" y="361"/>
                  </a:lnTo>
                  <a:lnTo>
                    <a:pt x="87" y="353"/>
                  </a:lnTo>
                  <a:lnTo>
                    <a:pt x="71" y="341"/>
                  </a:lnTo>
                  <a:lnTo>
                    <a:pt x="57" y="321"/>
                  </a:lnTo>
                  <a:lnTo>
                    <a:pt x="51" y="298"/>
                  </a:lnTo>
                  <a:lnTo>
                    <a:pt x="49" y="264"/>
                  </a:lnTo>
                  <a:lnTo>
                    <a:pt x="49" y="115"/>
                  </a:lnTo>
                  <a:lnTo>
                    <a:pt x="0" y="115"/>
                  </a:lnTo>
                  <a:lnTo>
                    <a:pt x="0" y="74"/>
                  </a:lnTo>
                  <a:lnTo>
                    <a:pt x="49" y="74"/>
                  </a:lnTo>
                  <a:lnTo>
                    <a:pt x="4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2" name="Freeform 53">
              <a:extLst>
                <a:ext uri="{FF2B5EF4-FFF2-40B4-BE49-F238E27FC236}">
                  <a16:creationId xmlns:a16="http://schemas.microsoft.com/office/drawing/2014/main" id="{D3293A1D-F0A8-4500-9EE5-1F200BBDCC0C}"/>
                </a:ext>
              </a:extLst>
            </p:cNvPr>
            <p:cNvSpPr>
              <a:spLocks/>
            </p:cNvSpPr>
            <p:nvPr userDrawn="1"/>
          </p:nvSpPr>
          <p:spPr bwMode="auto">
            <a:xfrm>
              <a:off x="2549260" y="1528768"/>
              <a:ext cx="24688" cy="67893"/>
            </a:xfrm>
            <a:custGeom>
              <a:avLst/>
              <a:gdLst>
                <a:gd name="T0" fmla="*/ 0 w 58"/>
                <a:gd name="T1" fmla="*/ 0 h 154"/>
                <a:gd name="T2" fmla="*/ 58 w 58"/>
                <a:gd name="T3" fmla="*/ 0 h 154"/>
                <a:gd name="T4" fmla="*/ 58 w 58"/>
                <a:gd name="T5" fmla="*/ 35 h 154"/>
                <a:gd name="T6" fmla="*/ 56 w 58"/>
                <a:gd name="T7" fmla="*/ 71 h 154"/>
                <a:gd name="T8" fmla="*/ 50 w 58"/>
                <a:gd name="T9" fmla="*/ 103 h 154"/>
                <a:gd name="T10" fmla="*/ 42 w 58"/>
                <a:gd name="T11" fmla="*/ 131 h 154"/>
                <a:gd name="T12" fmla="*/ 30 w 58"/>
                <a:gd name="T13" fmla="*/ 154 h 154"/>
                <a:gd name="T14" fmla="*/ 0 w 58"/>
                <a:gd name="T15" fmla="*/ 138 h 154"/>
                <a:gd name="T16" fmla="*/ 16 w 58"/>
                <a:gd name="T17" fmla="*/ 101 h 154"/>
                <a:gd name="T18" fmla="*/ 22 w 58"/>
                <a:gd name="T19" fmla="*/ 61 h 154"/>
                <a:gd name="T20" fmla="*/ 0 w 58"/>
                <a:gd name="T21" fmla="*/ 61 h 154"/>
                <a:gd name="T22" fmla="*/ 0 w 58"/>
                <a:gd name="T2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154">
                  <a:moveTo>
                    <a:pt x="0" y="0"/>
                  </a:moveTo>
                  <a:lnTo>
                    <a:pt x="58" y="0"/>
                  </a:lnTo>
                  <a:lnTo>
                    <a:pt x="58" y="35"/>
                  </a:lnTo>
                  <a:lnTo>
                    <a:pt x="56" y="71"/>
                  </a:lnTo>
                  <a:lnTo>
                    <a:pt x="50" y="103"/>
                  </a:lnTo>
                  <a:lnTo>
                    <a:pt x="42" y="131"/>
                  </a:lnTo>
                  <a:lnTo>
                    <a:pt x="30" y="154"/>
                  </a:lnTo>
                  <a:lnTo>
                    <a:pt x="0" y="138"/>
                  </a:lnTo>
                  <a:lnTo>
                    <a:pt x="16" y="101"/>
                  </a:lnTo>
                  <a:lnTo>
                    <a:pt x="22" y="61"/>
                  </a:lnTo>
                  <a:lnTo>
                    <a:pt x="0" y="61"/>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3" name="Freeform 54">
              <a:extLst>
                <a:ext uri="{FF2B5EF4-FFF2-40B4-BE49-F238E27FC236}">
                  <a16:creationId xmlns:a16="http://schemas.microsoft.com/office/drawing/2014/main" id="{DA9F0396-D3BA-46B9-A476-068EF3AF13F7}"/>
                </a:ext>
              </a:extLst>
            </p:cNvPr>
            <p:cNvSpPr>
              <a:spLocks/>
            </p:cNvSpPr>
            <p:nvPr userDrawn="1"/>
          </p:nvSpPr>
          <p:spPr bwMode="auto">
            <a:xfrm>
              <a:off x="2582765" y="1573735"/>
              <a:ext cx="98755" cy="134024"/>
            </a:xfrm>
            <a:custGeom>
              <a:avLst/>
              <a:gdLst>
                <a:gd name="T0" fmla="*/ 170 w 224"/>
                <a:gd name="T1" fmla="*/ 8 h 303"/>
                <a:gd name="T2" fmla="*/ 216 w 224"/>
                <a:gd name="T3" fmla="*/ 30 h 303"/>
                <a:gd name="T4" fmla="*/ 160 w 224"/>
                <a:gd name="T5" fmla="*/ 49 h 303"/>
                <a:gd name="T6" fmla="*/ 117 w 224"/>
                <a:gd name="T7" fmla="*/ 43 h 303"/>
                <a:gd name="T8" fmla="*/ 77 w 224"/>
                <a:gd name="T9" fmla="*/ 51 h 303"/>
                <a:gd name="T10" fmla="*/ 65 w 224"/>
                <a:gd name="T11" fmla="*/ 63 h 303"/>
                <a:gd name="T12" fmla="*/ 61 w 224"/>
                <a:gd name="T13" fmla="*/ 83 h 303"/>
                <a:gd name="T14" fmla="*/ 67 w 224"/>
                <a:gd name="T15" fmla="*/ 103 h 303"/>
                <a:gd name="T16" fmla="*/ 79 w 224"/>
                <a:gd name="T17" fmla="*/ 111 h 303"/>
                <a:gd name="T18" fmla="*/ 97 w 224"/>
                <a:gd name="T19" fmla="*/ 119 h 303"/>
                <a:gd name="T20" fmla="*/ 182 w 224"/>
                <a:gd name="T21" fmla="*/ 148 h 303"/>
                <a:gd name="T22" fmla="*/ 218 w 224"/>
                <a:gd name="T23" fmla="*/ 188 h 303"/>
                <a:gd name="T24" fmla="*/ 220 w 224"/>
                <a:gd name="T25" fmla="*/ 240 h 303"/>
                <a:gd name="T26" fmla="*/ 194 w 224"/>
                <a:gd name="T27" fmla="*/ 279 h 303"/>
                <a:gd name="T28" fmla="*/ 144 w 224"/>
                <a:gd name="T29" fmla="*/ 301 h 303"/>
                <a:gd name="T30" fmla="*/ 79 w 224"/>
                <a:gd name="T31" fmla="*/ 301 h 303"/>
                <a:gd name="T32" fmla="*/ 24 w 224"/>
                <a:gd name="T33" fmla="*/ 281 h 303"/>
                <a:gd name="T34" fmla="*/ 24 w 224"/>
                <a:gd name="T35" fmla="*/ 230 h 303"/>
                <a:gd name="T36" fmla="*/ 65 w 224"/>
                <a:gd name="T37" fmla="*/ 251 h 303"/>
                <a:gd name="T38" fmla="*/ 113 w 224"/>
                <a:gd name="T39" fmla="*/ 259 h 303"/>
                <a:gd name="T40" fmla="*/ 156 w 224"/>
                <a:gd name="T41" fmla="*/ 249 h 303"/>
                <a:gd name="T42" fmla="*/ 172 w 224"/>
                <a:gd name="T43" fmla="*/ 216 h 303"/>
                <a:gd name="T44" fmla="*/ 168 w 224"/>
                <a:gd name="T45" fmla="*/ 198 h 303"/>
                <a:gd name="T46" fmla="*/ 156 w 224"/>
                <a:gd name="T47" fmla="*/ 186 h 303"/>
                <a:gd name="T48" fmla="*/ 135 w 224"/>
                <a:gd name="T49" fmla="*/ 176 h 303"/>
                <a:gd name="T50" fmla="*/ 49 w 224"/>
                <a:gd name="T51" fmla="*/ 148 h 303"/>
                <a:gd name="T52" fmla="*/ 14 w 224"/>
                <a:gd name="T53" fmla="*/ 109 h 303"/>
                <a:gd name="T54" fmla="*/ 12 w 224"/>
                <a:gd name="T55" fmla="*/ 63 h 303"/>
                <a:gd name="T56" fmla="*/ 24 w 224"/>
                <a:gd name="T57" fmla="*/ 37 h 303"/>
                <a:gd name="T58" fmla="*/ 41 w 224"/>
                <a:gd name="T59" fmla="*/ 20 h 303"/>
                <a:gd name="T60" fmla="*/ 75 w 224"/>
                <a:gd name="T61" fmla="*/ 6 h 303"/>
                <a:gd name="T62" fmla="*/ 117 w 224"/>
                <a:gd name="T6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 h="303">
                  <a:moveTo>
                    <a:pt x="117" y="0"/>
                  </a:moveTo>
                  <a:lnTo>
                    <a:pt x="170" y="8"/>
                  </a:lnTo>
                  <a:lnTo>
                    <a:pt x="196" y="16"/>
                  </a:lnTo>
                  <a:lnTo>
                    <a:pt x="216" y="30"/>
                  </a:lnTo>
                  <a:lnTo>
                    <a:pt x="198" y="65"/>
                  </a:lnTo>
                  <a:lnTo>
                    <a:pt x="160" y="49"/>
                  </a:lnTo>
                  <a:lnTo>
                    <a:pt x="140" y="43"/>
                  </a:lnTo>
                  <a:lnTo>
                    <a:pt x="117" y="43"/>
                  </a:lnTo>
                  <a:lnTo>
                    <a:pt x="95" y="45"/>
                  </a:lnTo>
                  <a:lnTo>
                    <a:pt x="77" y="51"/>
                  </a:lnTo>
                  <a:lnTo>
                    <a:pt x="69" y="57"/>
                  </a:lnTo>
                  <a:lnTo>
                    <a:pt x="65" y="63"/>
                  </a:lnTo>
                  <a:lnTo>
                    <a:pt x="61" y="73"/>
                  </a:lnTo>
                  <a:lnTo>
                    <a:pt x="61" y="83"/>
                  </a:lnTo>
                  <a:lnTo>
                    <a:pt x="63" y="93"/>
                  </a:lnTo>
                  <a:lnTo>
                    <a:pt x="67" y="103"/>
                  </a:lnTo>
                  <a:lnTo>
                    <a:pt x="71" y="107"/>
                  </a:lnTo>
                  <a:lnTo>
                    <a:pt x="79" y="111"/>
                  </a:lnTo>
                  <a:lnTo>
                    <a:pt x="87" y="115"/>
                  </a:lnTo>
                  <a:lnTo>
                    <a:pt x="97" y="119"/>
                  </a:lnTo>
                  <a:lnTo>
                    <a:pt x="150" y="135"/>
                  </a:lnTo>
                  <a:lnTo>
                    <a:pt x="182" y="148"/>
                  </a:lnTo>
                  <a:lnTo>
                    <a:pt x="206" y="166"/>
                  </a:lnTo>
                  <a:lnTo>
                    <a:pt x="218" y="188"/>
                  </a:lnTo>
                  <a:lnTo>
                    <a:pt x="224" y="214"/>
                  </a:lnTo>
                  <a:lnTo>
                    <a:pt x="220" y="240"/>
                  </a:lnTo>
                  <a:lnTo>
                    <a:pt x="210" y="259"/>
                  </a:lnTo>
                  <a:lnTo>
                    <a:pt x="194" y="279"/>
                  </a:lnTo>
                  <a:lnTo>
                    <a:pt x="172" y="293"/>
                  </a:lnTo>
                  <a:lnTo>
                    <a:pt x="144" y="301"/>
                  </a:lnTo>
                  <a:lnTo>
                    <a:pt x="113" y="303"/>
                  </a:lnTo>
                  <a:lnTo>
                    <a:pt x="79" y="301"/>
                  </a:lnTo>
                  <a:lnTo>
                    <a:pt x="49" y="293"/>
                  </a:lnTo>
                  <a:lnTo>
                    <a:pt x="24" y="281"/>
                  </a:lnTo>
                  <a:lnTo>
                    <a:pt x="0" y="265"/>
                  </a:lnTo>
                  <a:lnTo>
                    <a:pt x="24" y="230"/>
                  </a:lnTo>
                  <a:lnTo>
                    <a:pt x="43" y="242"/>
                  </a:lnTo>
                  <a:lnTo>
                    <a:pt x="65"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1" y="28"/>
                  </a:lnTo>
                  <a:lnTo>
                    <a:pt x="41" y="20"/>
                  </a:lnTo>
                  <a:lnTo>
                    <a:pt x="55" y="12"/>
                  </a:lnTo>
                  <a:lnTo>
                    <a:pt x="75"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4" name="Freeform 55">
              <a:extLst>
                <a:ext uri="{FF2B5EF4-FFF2-40B4-BE49-F238E27FC236}">
                  <a16:creationId xmlns:a16="http://schemas.microsoft.com/office/drawing/2014/main" id="{6E4B2F17-BDCF-479F-94EB-41ED88EFF815}"/>
                </a:ext>
              </a:extLst>
            </p:cNvPr>
            <p:cNvSpPr>
              <a:spLocks noEditPoints="1"/>
            </p:cNvSpPr>
            <p:nvPr userDrawn="1"/>
          </p:nvSpPr>
          <p:spPr bwMode="auto">
            <a:xfrm>
              <a:off x="2767933" y="1527007"/>
              <a:ext cx="23807" cy="177228"/>
            </a:xfrm>
            <a:custGeom>
              <a:avLst/>
              <a:gdLst>
                <a:gd name="T0" fmla="*/ 2 w 53"/>
                <a:gd name="T1" fmla="*/ 115 h 402"/>
                <a:gd name="T2" fmla="*/ 53 w 53"/>
                <a:gd name="T3" fmla="*/ 115 h 402"/>
                <a:gd name="T4" fmla="*/ 53 w 53"/>
                <a:gd name="T5" fmla="*/ 402 h 402"/>
                <a:gd name="T6" fmla="*/ 2 w 53"/>
                <a:gd name="T7" fmla="*/ 402 h 402"/>
                <a:gd name="T8" fmla="*/ 2 w 53"/>
                <a:gd name="T9" fmla="*/ 115 h 402"/>
                <a:gd name="T10" fmla="*/ 0 w 53"/>
                <a:gd name="T11" fmla="*/ 0 h 402"/>
                <a:gd name="T12" fmla="*/ 53 w 53"/>
                <a:gd name="T13" fmla="*/ 0 h 402"/>
                <a:gd name="T14" fmla="*/ 53 w 53"/>
                <a:gd name="T15" fmla="*/ 57 h 402"/>
                <a:gd name="T16" fmla="*/ 0 w 53"/>
                <a:gd name="T17" fmla="*/ 57 h 402"/>
                <a:gd name="T18" fmla="*/ 0 w 53"/>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402">
                  <a:moveTo>
                    <a:pt x="2" y="115"/>
                  </a:moveTo>
                  <a:lnTo>
                    <a:pt x="53" y="115"/>
                  </a:lnTo>
                  <a:lnTo>
                    <a:pt x="53" y="402"/>
                  </a:lnTo>
                  <a:lnTo>
                    <a:pt x="2" y="402"/>
                  </a:lnTo>
                  <a:lnTo>
                    <a:pt x="2" y="115"/>
                  </a:lnTo>
                  <a:close/>
                  <a:moveTo>
                    <a:pt x="0" y="0"/>
                  </a:moveTo>
                  <a:lnTo>
                    <a:pt x="53" y="0"/>
                  </a:lnTo>
                  <a:lnTo>
                    <a:pt x="53"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5" name="Freeform 56">
              <a:extLst>
                <a:ext uri="{FF2B5EF4-FFF2-40B4-BE49-F238E27FC236}">
                  <a16:creationId xmlns:a16="http://schemas.microsoft.com/office/drawing/2014/main" id="{39F7D044-BBF5-4482-9A80-3D16D6EA159D}"/>
                </a:ext>
              </a:extLst>
            </p:cNvPr>
            <p:cNvSpPr>
              <a:spLocks/>
            </p:cNvSpPr>
            <p:nvPr userDrawn="1"/>
          </p:nvSpPr>
          <p:spPr bwMode="auto">
            <a:xfrm>
              <a:off x="2828769" y="1573735"/>
              <a:ext cx="111099" cy="130496"/>
            </a:xfrm>
            <a:custGeom>
              <a:avLst/>
              <a:gdLst>
                <a:gd name="T0" fmla="*/ 148 w 251"/>
                <a:gd name="T1" fmla="*/ 0 h 295"/>
                <a:gd name="T2" fmla="*/ 178 w 251"/>
                <a:gd name="T3" fmla="*/ 4 h 295"/>
                <a:gd name="T4" fmla="*/ 204 w 251"/>
                <a:gd name="T5" fmla="*/ 12 h 295"/>
                <a:gd name="T6" fmla="*/ 224 w 251"/>
                <a:gd name="T7" fmla="*/ 28 h 295"/>
                <a:gd name="T8" fmla="*/ 239 w 251"/>
                <a:gd name="T9" fmla="*/ 49 h 295"/>
                <a:gd name="T10" fmla="*/ 247 w 251"/>
                <a:gd name="T11" fmla="*/ 77 h 295"/>
                <a:gd name="T12" fmla="*/ 251 w 251"/>
                <a:gd name="T13" fmla="*/ 111 h 295"/>
                <a:gd name="T14" fmla="*/ 251 w 251"/>
                <a:gd name="T15" fmla="*/ 295 h 295"/>
                <a:gd name="T16" fmla="*/ 200 w 251"/>
                <a:gd name="T17" fmla="*/ 295 h 295"/>
                <a:gd name="T18" fmla="*/ 200 w 251"/>
                <a:gd name="T19" fmla="*/ 117 h 295"/>
                <a:gd name="T20" fmla="*/ 198 w 251"/>
                <a:gd name="T21" fmla="*/ 93 h 295"/>
                <a:gd name="T22" fmla="*/ 192 w 251"/>
                <a:gd name="T23" fmla="*/ 75 h 295"/>
                <a:gd name="T24" fmla="*/ 184 w 251"/>
                <a:gd name="T25" fmla="*/ 61 h 295"/>
                <a:gd name="T26" fmla="*/ 172 w 251"/>
                <a:gd name="T27" fmla="*/ 51 h 295"/>
                <a:gd name="T28" fmla="*/ 156 w 251"/>
                <a:gd name="T29" fmla="*/ 45 h 295"/>
                <a:gd name="T30" fmla="*/ 136 w 251"/>
                <a:gd name="T31" fmla="*/ 43 h 295"/>
                <a:gd name="T32" fmla="*/ 113 w 251"/>
                <a:gd name="T33" fmla="*/ 47 h 295"/>
                <a:gd name="T34" fmla="*/ 91 w 251"/>
                <a:gd name="T35" fmla="*/ 55 h 295"/>
                <a:gd name="T36" fmla="*/ 75 w 251"/>
                <a:gd name="T37" fmla="*/ 69 h 295"/>
                <a:gd name="T38" fmla="*/ 61 w 251"/>
                <a:gd name="T39" fmla="*/ 89 h 295"/>
                <a:gd name="T40" fmla="*/ 53 w 251"/>
                <a:gd name="T41" fmla="*/ 113 h 295"/>
                <a:gd name="T42" fmla="*/ 51 w 251"/>
                <a:gd name="T43" fmla="*/ 142 h 295"/>
                <a:gd name="T44" fmla="*/ 51 w 251"/>
                <a:gd name="T45" fmla="*/ 295 h 295"/>
                <a:gd name="T46" fmla="*/ 0 w 251"/>
                <a:gd name="T47" fmla="*/ 295 h 295"/>
                <a:gd name="T48" fmla="*/ 0 w 251"/>
                <a:gd name="T49" fmla="*/ 8 h 295"/>
                <a:gd name="T50" fmla="*/ 25 w 251"/>
                <a:gd name="T51" fmla="*/ 8 h 295"/>
                <a:gd name="T52" fmla="*/ 35 w 251"/>
                <a:gd name="T53" fmla="*/ 8 h 295"/>
                <a:gd name="T54" fmla="*/ 41 w 251"/>
                <a:gd name="T55" fmla="*/ 10 h 295"/>
                <a:gd name="T56" fmla="*/ 45 w 251"/>
                <a:gd name="T57" fmla="*/ 16 h 295"/>
                <a:gd name="T58" fmla="*/ 49 w 251"/>
                <a:gd name="T59" fmla="*/ 20 h 295"/>
                <a:gd name="T60" fmla="*/ 49 w 251"/>
                <a:gd name="T61" fmla="*/ 28 h 295"/>
                <a:gd name="T62" fmla="*/ 49 w 251"/>
                <a:gd name="T63" fmla="*/ 51 h 295"/>
                <a:gd name="T64" fmla="*/ 65 w 251"/>
                <a:gd name="T65" fmla="*/ 30 h 295"/>
                <a:gd name="T66" fmla="*/ 89 w 251"/>
                <a:gd name="T67" fmla="*/ 14 h 295"/>
                <a:gd name="T68" fmla="*/ 117 w 251"/>
                <a:gd name="T69" fmla="*/ 4 h 295"/>
                <a:gd name="T70" fmla="*/ 148 w 251"/>
                <a:gd name="T7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295">
                  <a:moveTo>
                    <a:pt x="148" y="0"/>
                  </a:moveTo>
                  <a:lnTo>
                    <a:pt x="178" y="4"/>
                  </a:lnTo>
                  <a:lnTo>
                    <a:pt x="204" y="12"/>
                  </a:lnTo>
                  <a:lnTo>
                    <a:pt x="224" y="28"/>
                  </a:lnTo>
                  <a:lnTo>
                    <a:pt x="239" y="49"/>
                  </a:lnTo>
                  <a:lnTo>
                    <a:pt x="247" y="77"/>
                  </a:lnTo>
                  <a:lnTo>
                    <a:pt x="251" y="111"/>
                  </a:lnTo>
                  <a:lnTo>
                    <a:pt x="251" y="295"/>
                  </a:lnTo>
                  <a:lnTo>
                    <a:pt x="200" y="295"/>
                  </a:lnTo>
                  <a:lnTo>
                    <a:pt x="200" y="117"/>
                  </a:lnTo>
                  <a:lnTo>
                    <a:pt x="198" y="93"/>
                  </a:lnTo>
                  <a:lnTo>
                    <a:pt x="192" y="75"/>
                  </a:lnTo>
                  <a:lnTo>
                    <a:pt x="184" y="61"/>
                  </a:lnTo>
                  <a:lnTo>
                    <a:pt x="172" y="51"/>
                  </a:lnTo>
                  <a:lnTo>
                    <a:pt x="156" y="45"/>
                  </a:lnTo>
                  <a:lnTo>
                    <a:pt x="136" y="43"/>
                  </a:lnTo>
                  <a:lnTo>
                    <a:pt x="113" y="47"/>
                  </a:lnTo>
                  <a:lnTo>
                    <a:pt x="91" y="55"/>
                  </a:lnTo>
                  <a:lnTo>
                    <a:pt x="75" y="69"/>
                  </a:lnTo>
                  <a:lnTo>
                    <a:pt x="61" y="89"/>
                  </a:lnTo>
                  <a:lnTo>
                    <a:pt x="53" y="113"/>
                  </a:lnTo>
                  <a:lnTo>
                    <a:pt x="51" y="142"/>
                  </a:lnTo>
                  <a:lnTo>
                    <a:pt x="51" y="295"/>
                  </a:lnTo>
                  <a:lnTo>
                    <a:pt x="0" y="295"/>
                  </a:lnTo>
                  <a:lnTo>
                    <a:pt x="0" y="8"/>
                  </a:lnTo>
                  <a:lnTo>
                    <a:pt x="25" y="8"/>
                  </a:lnTo>
                  <a:lnTo>
                    <a:pt x="35" y="8"/>
                  </a:lnTo>
                  <a:lnTo>
                    <a:pt x="41" y="10"/>
                  </a:lnTo>
                  <a:lnTo>
                    <a:pt x="45" y="16"/>
                  </a:lnTo>
                  <a:lnTo>
                    <a:pt x="49" y="20"/>
                  </a:lnTo>
                  <a:lnTo>
                    <a:pt x="49" y="28"/>
                  </a:lnTo>
                  <a:lnTo>
                    <a:pt x="49" y="51"/>
                  </a:lnTo>
                  <a:lnTo>
                    <a:pt x="65" y="30"/>
                  </a:lnTo>
                  <a:lnTo>
                    <a:pt x="89" y="14"/>
                  </a:lnTo>
                  <a:lnTo>
                    <a:pt x="117" y="4"/>
                  </a:lnTo>
                  <a:lnTo>
                    <a:pt x="148"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6" name="Freeform 57">
              <a:extLst>
                <a:ext uri="{FF2B5EF4-FFF2-40B4-BE49-F238E27FC236}">
                  <a16:creationId xmlns:a16="http://schemas.microsoft.com/office/drawing/2014/main" id="{FBDF5906-9F67-46AA-952D-72D605417E5F}"/>
                </a:ext>
              </a:extLst>
            </p:cNvPr>
            <p:cNvSpPr>
              <a:spLocks/>
            </p:cNvSpPr>
            <p:nvPr userDrawn="1"/>
          </p:nvSpPr>
          <p:spPr bwMode="auto">
            <a:xfrm>
              <a:off x="2964556" y="1573735"/>
              <a:ext cx="97872" cy="134024"/>
            </a:xfrm>
            <a:custGeom>
              <a:avLst/>
              <a:gdLst>
                <a:gd name="T0" fmla="*/ 143 w 222"/>
                <a:gd name="T1" fmla="*/ 2 h 303"/>
                <a:gd name="T2" fmla="*/ 194 w 222"/>
                <a:gd name="T3" fmla="*/ 16 h 303"/>
                <a:gd name="T4" fmla="*/ 196 w 222"/>
                <a:gd name="T5" fmla="*/ 65 h 303"/>
                <a:gd name="T6" fmla="*/ 141 w 222"/>
                <a:gd name="T7" fmla="*/ 43 h 303"/>
                <a:gd name="T8" fmla="*/ 95 w 222"/>
                <a:gd name="T9" fmla="*/ 45 h 303"/>
                <a:gd name="T10" fmla="*/ 69 w 222"/>
                <a:gd name="T11" fmla="*/ 57 h 303"/>
                <a:gd name="T12" fmla="*/ 61 w 222"/>
                <a:gd name="T13" fmla="*/ 73 h 303"/>
                <a:gd name="T14" fmla="*/ 61 w 222"/>
                <a:gd name="T15" fmla="*/ 93 h 303"/>
                <a:gd name="T16" fmla="*/ 71 w 222"/>
                <a:gd name="T17" fmla="*/ 107 h 303"/>
                <a:gd name="T18" fmla="*/ 87 w 222"/>
                <a:gd name="T19" fmla="*/ 115 h 303"/>
                <a:gd name="T20" fmla="*/ 150 w 222"/>
                <a:gd name="T21" fmla="*/ 135 h 303"/>
                <a:gd name="T22" fmla="*/ 206 w 222"/>
                <a:gd name="T23" fmla="*/ 166 h 303"/>
                <a:gd name="T24" fmla="*/ 222 w 222"/>
                <a:gd name="T25" fmla="*/ 214 h 303"/>
                <a:gd name="T26" fmla="*/ 210 w 222"/>
                <a:gd name="T27" fmla="*/ 259 h 303"/>
                <a:gd name="T28" fmla="*/ 172 w 222"/>
                <a:gd name="T29" fmla="*/ 293 h 303"/>
                <a:gd name="T30" fmla="*/ 113 w 222"/>
                <a:gd name="T31" fmla="*/ 303 h 303"/>
                <a:gd name="T32" fmla="*/ 49 w 222"/>
                <a:gd name="T33" fmla="*/ 293 h 303"/>
                <a:gd name="T34" fmla="*/ 0 w 222"/>
                <a:gd name="T35" fmla="*/ 265 h 303"/>
                <a:gd name="T36" fmla="*/ 43 w 222"/>
                <a:gd name="T37" fmla="*/ 242 h 303"/>
                <a:gd name="T38" fmla="*/ 87 w 222"/>
                <a:gd name="T39" fmla="*/ 257 h 303"/>
                <a:gd name="T40" fmla="*/ 137 w 222"/>
                <a:gd name="T41" fmla="*/ 257 h 303"/>
                <a:gd name="T42" fmla="*/ 168 w 222"/>
                <a:gd name="T43" fmla="*/ 236 h 303"/>
                <a:gd name="T44" fmla="*/ 170 w 222"/>
                <a:gd name="T45" fmla="*/ 206 h 303"/>
                <a:gd name="T46" fmla="*/ 164 w 222"/>
                <a:gd name="T47" fmla="*/ 192 h 303"/>
                <a:gd name="T48" fmla="*/ 146 w 222"/>
                <a:gd name="T49" fmla="*/ 182 h 303"/>
                <a:gd name="T50" fmla="*/ 81 w 222"/>
                <a:gd name="T51" fmla="*/ 160 h 303"/>
                <a:gd name="T52" fmla="*/ 28 w 222"/>
                <a:gd name="T53" fmla="*/ 131 h 303"/>
                <a:gd name="T54" fmla="*/ 10 w 222"/>
                <a:gd name="T55" fmla="*/ 83 h 303"/>
                <a:gd name="T56" fmla="*/ 18 w 222"/>
                <a:gd name="T57" fmla="*/ 47 h 303"/>
                <a:gd name="T58" fmla="*/ 32 w 222"/>
                <a:gd name="T59" fmla="*/ 28 h 303"/>
                <a:gd name="T60" fmla="*/ 55 w 222"/>
                <a:gd name="T61" fmla="*/ 12 h 303"/>
                <a:gd name="T62" fmla="*/ 95 w 222"/>
                <a:gd name="T63" fmla="*/ 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303">
                  <a:moveTo>
                    <a:pt x="117" y="0"/>
                  </a:moveTo>
                  <a:lnTo>
                    <a:pt x="143" y="2"/>
                  </a:lnTo>
                  <a:lnTo>
                    <a:pt x="170" y="8"/>
                  </a:lnTo>
                  <a:lnTo>
                    <a:pt x="194" y="16"/>
                  </a:lnTo>
                  <a:lnTo>
                    <a:pt x="216" y="30"/>
                  </a:lnTo>
                  <a:lnTo>
                    <a:pt x="196" y="65"/>
                  </a:lnTo>
                  <a:lnTo>
                    <a:pt x="160" y="49"/>
                  </a:lnTo>
                  <a:lnTo>
                    <a:pt x="141" y="43"/>
                  </a:lnTo>
                  <a:lnTo>
                    <a:pt x="117" y="43"/>
                  </a:lnTo>
                  <a:lnTo>
                    <a:pt x="95" y="45"/>
                  </a:lnTo>
                  <a:lnTo>
                    <a:pt x="77" y="51"/>
                  </a:lnTo>
                  <a:lnTo>
                    <a:pt x="69" y="57"/>
                  </a:lnTo>
                  <a:lnTo>
                    <a:pt x="65" y="63"/>
                  </a:lnTo>
                  <a:lnTo>
                    <a:pt x="61" y="73"/>
                  </a:lnTo>
                  <a:lnTo>
                    <a:pt x="61" y="83"/>
                  </a:lnTo>
                  <a:lnTo>
                    <a:pt x="61" y="93"/>
                  </a:lnTo>
                  <a:lnTo>
                    <a:pt x="67" y="103"/>
                  </a:lnTo>
                  <a:lnTo>
                    <a:pt x="71" y="107"/>
                  </a:lnTo>
                  <a:lnTo>
                    <a:pt x="77" y="111"/>
                  </a:lnTo>
                  <a:lnTo>
                    <a:pt x="87" y="115"/>
                  </a:lnTo>
                  <a:lnTo>
                    <a:pt x="97" y="119"/>
                  </a:lnTo>
                  <a:lnTo>
                    <a:pt x="150" y="135"/>
                  </a:lnTo>
                  <a:lnTo>
                    <a:pt x="182" y="148"/>
                  </a:lnTo>
                  <a:lnTo>
                    <a:pt x="206" y="166"/>
                  </a:lnTo>
                  <a:lnTo>
                    <a:pt x="218" y="188"/>
                  </a:lnTo>
                  <a:lnTo>
                    <a:pt x="222" y="214"/>
                  </a:lnTo>
                  <a:lnTo>
                    <a:pt x="220" y="240"/>
                  </a:lnTo>
                  <a:lnTo>
                    <a:pt x="210" y="259"/>
                  </a:lnTo>
                  <a:lnTo>
                    <a:pt x="194" y="279"/>
                  </a:lnTo>
                  <a:lnTo>
                    <a:pt x="172" y="293"/>
                  </a:lnTo>
                  <a:lnTo>
                    <a:pt x="145" y="301"/>
                  </a:lnTo>
                  <a:lnTo>
                    <a:pt x="113" y="303"/>
                  </a:lnTo>
                  <a:lnTo>
                    <a:pt x="79" y="301"/>
                  </a:lnTo>
                  <a:lnTo>
                    <a:pt x="49" y="293"/>
                  </a:lnTo>
                  <a:lnTo>
                    <a:pt x="24" y="281"/>
                  </a:lnTo>
                  <a:lnTo>
                    <a:pt x="0" y="265"/>
                  </a:lnTo>
                  <a:lnTo>
                    <a:pt x="24" y="230"/>
                  </a:lnTo>
                  <a:lnTo>
                    <a:pt x="43" y="242"/>
                  </a:lnTo>
                  <a:lnTo>
                    <a:pt x="63" y="251"/>
                  </a:lnTo>
                  <a:lnTo>
                    <a:pt x="87" y="257"/>
                  </a:lnTo>
                  <a:lnTo>
                    <a:pt x="113" y="259"/>
                  </a:lnTo>
                  <a:lnTo>
                    <a:pt x="137" y="257"/>
                  </a:lnTo>
                  <a:lnTo>
                    <a:pt x="156" y="249"/>
                  </a:lnTo>
                  <a:lnTo>
                    <a:pt x="168" y="236"/>
                  </a:lnTo>
                  <a:lnTo>
                    <a:pt x="172" y="216"/>
                  </a:lnTo>
                  <a:lnTo>
                    <a:pt x="170" y="206"/>
                  </a:lnTo>
                  <a:lnTo>
                    <a:pt x="168" y="198"/>
                  </a:lnTo>
                  <a:lnTo>
                    <a:pt x="164" y="192"/>
                  </a:lnTo>
                  <a:lnTo>
                    <a:pt x="156" y="186"/>
                  </a:lnTo>
                  <a:lnTo>
                    <a:pt x="146" y="182"/>
                  </a:lnTo>
                  <a:lnTo>
                    <a:pt x="135" y="176"/>
                  </a:lnTo>
                  <a:lnTo>
                    <a:pt x="81" y="160"/>
                  </a:lnTo>
                  <a:lnTo>
                    <a:pt x="49" y="148"/>
                  </a:lnTo>
                  <a:lnTo>
                    <a:pt x="28" y="131"/>
                  </a:lnTo>
                  <a:lnTo>
                    <a:pt x="14" y="109"/>
                  </a:lnTo>
                  <a:lnTo>
                    <a:pt x="10" y="83"/>
                  </a:lnTo>
                  <a:lnTo>
                    <a:pt x="12" y="63"/>
                  </a:lnTo>
                  <a:lnTo>
                    <a:pt x="18" y="47"/>
                  </a:lnTo>
                  <a:lnTo>
                    <a:pt x="24" y="37"/>
                  </a:lnTo>
                  <a:lnTo>
                    <a:pt x="32" y="28"/>
                  </a:lnTo>
                  <a:lnTo>
                    <a:pt x="39" y="20"/>
                  </a:lnTo>
                  <a:lnTo>
                    <a:pt x="55" y="12"/>
                  </a:lnTo>
                  <a:lnTo>
                    <a:pt x="73" y="6"/>
                  </a:lnTo>
                  <a:lnTo>
                    <a:pt x="95" y="2"/>
                  </a:lnTo>
                  <a:lnTo>
                    <a:pt x="117"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7" name="Freeform 58">
              <a:extLst>
                <a:ext uri="{FF2B5EF4-FFF2-40B4-BE49-F238E27FC236}">
                  <a16:creationId xmlns:a16="http://schemas.microsoft.com/office/drawing/2014/main" id="{D1509FBF-6C7B-431E-9184-44C48876881C}"/>
                </a:ext>
              </a:extLst>
            </p:cNvPr>
            <p:cNvSpPr>
              <a:spLocks noEditPoints="1"/>
            </p:cNvSpPr>
            <p:nvPr userDrawn="1"/>
          </p:nvSpPr>
          <p:spPr bwMode="auto">
            <a:xfrm>
              <a:off x="3090646" y="1527007"/>
              <a:ext cx="23807" cy="177228"/>
            </a:xfrm>
            <a:custGeom>
              <a:avLst/>
              <a:gdLst>
                <a:gd name="T0" fmla="*/ 2 w 54"/>
                <a:gd name="T1" fmla="*/ 115 h 402"/>
                <a:gd name="T2" fmla="*/ 54 w 54"/>
                <a:gd name="T3" fmla="*/ 115 h 402"/>
                <a:gd name="T4" fmla="*/ 54 w 54"/>
                <a:gd name="T5" fmla="*/ 402 h 402"/>
                <a:gd name="T6" fmla="*/ 2 w 54"/>
                <a:gd name="T7" fmla="*/ 402 h 402"/>
                <a:gd name="T8" fmla="*/ 2 w 54"/>
                <a:gd name="T9" fmla="*/ 115 h 402"/>
                <a:gd name="T10" fmla="*/ 0 w 54"/>
                <a:gd name="T11" fmla="*/ 0 h 402"/>
                <a:gd name="T12" fmla="*/ 54 w 54"/>
                <a:gd name="T13" fmla="*/ 0 h 402"/>
                <a:gd name="T14" fmla="*/ 54 w 54"/>
                <a:gd name="T15" fmla="*/ 57 h 402"/>
                <a:gd name="T16" fmla="*/ 0 w 54"/>
                <a:gd name="T17" fmla="*/ 57 h 402"/>
                <a:gd name="T18" fmla="*/ 0 w 54"/>
                <a:gd name="T1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02">
                  <a:moveTo>
                    <a:pt x="2" y="115"/>
                  </a:moveTo>
                  <a:lnTo>
                    <a:pt x="54" y="115"/>
                  </a:lnTo>
                  <a:lnTo>
                    <a:pt x="54" y="402"/>
                  </a:lnTo>
                  <a:lnTo>
                    <a:pt x="2" y="402"/>
                  </a:lnTo>
                  <a:lnTo>
                    <a:pt x="2" y="115"/>
                  </a:lnTo>
                  <a:close/>
                  <a:moveTo>
                    <a:pt x="0" y="0"/>
                  </a:moveTo>
                  <a:lnTo>
                    <a:pt x="54" y="0"/>
                  </a:lnTo>
                  <a:lnTo>
                    <a:pt x="54" y="57"/>
                  </a:lnTo>
                  <a:lnTo>
                    <a:pt x="0" y="57"/>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8" name="Freeform 59">
              <a:extLst>
                <a:ext uri="{FF2B5EF4-FFF2-40B4-BE49-F238E27FC236}">
                  <a16:creationId xmlns:a16="http://schemas.microsoft.com/office/drawing/2014/main" id="{95A29CD6-E49F-4AFD-9D71-A71E4AC26FA4}"/>
                </a:ext>
              </a:extLst>
            </p:cNvPr>
            <p:cNvSpPr>
              <a:spLocks noEditPoints="1"/>
            </p:cNvSpPr>
            <p:nvPr userDrawn="1"/>
          </p:nvSpPr>
          <p:spPr bwMode="auto">
            <a:xfrm>
              <a:off x="3142669" y="1522595"/>
              <a:ext cx="121679" cy="185164"/>
            </a:xfrm>
            <a:custGeom>
              <a:avLst/>
              <a:gdLst>
                <a:gd name="T0" fmla="*/ 141 w 278"/>
                <a:gd name="T1" fmla="*/ 160 h 420"/>
                <a:gd name="T2" fmla="*/ 115 w 278"/>
                <a:gd name="T3" fmla="*/ 164 h 420"/>
                <a:gd name="T4" fmla="*/ 93 w 278"/>
                <a:gd name="T5" fmla="*/ 174 h 420"/>
                <a:gd name="T6" fmla="*/ 77 w 278"/>
                <a:gd name="T7" fmla="*/ 190 h 420"/>
                <a:gd name="T8" fmla="*/ 64 w 278"/>
                <a:gd name="T9" fmla="*/ 210 h 420"/>
                <a:gd name="T10" fmla="*/ 58 w 278"/>
                <a:gd name="T11" fmla="*/ 238 h 420"/>
                <a:gd name="T12" fmla="*/ 54 w 278"/>
                <a:gd name="T13" fmla="*/ 269 h 420"/>
                <a:gd name="T14" fmla="*/ 58 w 278"/>
                <a:gd name="T15" fmla="*/ 301 h 420"/>
                <a:gd name="T16" fmla="*/ 64 w 278"/>
                <a:gd name="T17" fmla="*/ 327 h 420"/>
                <a:gd name="T18" fmla="*/ 77 w 278"/>
                <a:gd name="T19" fmla="*/ 349 h 420"/>
                <a:gd name="T20" fmla="*/ 93 w 278"/>
                <a:gd name="T21" fmla="*/ 365 h 420"/>
                <a:gd name="T22" fmla="*/ 115 w 278"/>
                <a:gd name="T23" fmla="*/ 372 h 420"/>
                <a:gd name="T24" fmla="*/ 141 w 278"/>
                <a:gd name="T25" fmla="*/ 376 h 420"/>
                <a:gd name="T26" fmla="*/ 167 w 278"/>
                <a:gd name="T27" fmla="*/ 372 h 420"/>
                <a:gd name="T28" fmla="*/ 186 w 278"/>
                <a:gd name="T29" fmla="*/ 363 h 420"/>
                <a:gd name="T30" fmla="*/ 204 w 278"/>
                <a:gd name="T31" fmla="*/ 347 h 420"/>
                <a:gd name="T32" fmla="*/ 216 w 278"/>
                <a:gd name="T33" fmla="*/ 325 h 420"/>
                <a:gd name="T34" fmla="*/ 224 w 278"/>
                <a:gd name="T35" fmla="*/ 299 h 420"/>
                <a:gd name="T36" fmla="*/ 226 w 278"/>
                <a:gd name="T37" fmla="*/ 269 h 420"/>
                <a:gd name="T38" fmla="*/ 224 w 278"/>
                <a:gd name="T39" fmla="*/ 236 h 420"/>
                <a:gd name="T40" fmla="*/ 218 w 278"/>
                <a:gd name="T41" fmla="*/ 210 h 420"/>
                <a:gd name="T42" fmla="*/ 204 w 278"/>
                <a:gd name="T43" fmla="*/ 188 h 420"/>
                <a:gd name="T44" fmla="*/ 188 w 278"/>
                <a:gd name="T45" fmla="*/ 174 h 420"/>
                <a:gd name="T46" fmla="*/ 167 w 278"/>
                <a:gd name="T47" fmla="*/ 164 h 420"/>
                <a:gd name="T48" fmla="*/ 141 w 278"/>
                <a:gd name="T49" fmla="*/ 160 h 420"/>
                <a:gd name="T50" fmla="*/ 226 w 278"/>
                <a:gd name="T51" fmla="*/ 0 h 420"/>
                <a:gd name="T52" fmla="*/ 278 w 278"/>
                <a:gd name="T53" fmla="*/ 0 h 420"/>
                <a:gd name="T54" fmla="*/ 278 w 278"/>
                <a:gd name="T55" fmla="*/ 412 h 420"/>
                <a:gd name="T56" fmla="*/ 250 w 278"/>
                <a:gd name="T57" fmla="*/ 412 h 420"/>
                <a:gd name="T58" fmla="*/ 242 w 278"/>
                <a:gd name="T59" fmla="*/ 412 h 420"/>
                <a:gd name="T60" fmla="*/ 236 w 278"/>
                <a:gd name="T61" fmla="*/ 410 h 420"/>
                <a:gd name="T62" fmla="*/ 230 w 278"/>
                <a:gd name="T63" fmla="*/ 406 h 420"/>
                <a:gd name="T64" fmla="*/ 228 w 278"/>
                <a:gd name="T65" fmla="*/ 400 h 420"/>
                <a:gd name="T66" fmla="*/ 226 w 278"/>
                <a:gd name="T67" fmla="*/ 392 h 420"/>
                <a:gd name="T68" fmla="*/ 226 w 278"/>
                <a:gd name="T69" fmla="*/ 370 h 420"/>
                <a:gd name="T70" fmla="*/ 210 w 278"/>
                <a:gd name="T71" fmla="*/ 390 h 420"/>
                <a:gd name="T72" fmla="*/ 188 w 278"/>
                <a:gd name="T73" fmla="*/ 406 h 420"/>
                <a:gd name="T74" fmla="*/ 161 w 278"/>
                <a:gd name="T75" fmla="*/ 416 h 420"/>
                <a:gd name="T76" fmla="*/ 129 w 278"/>
                <a:gd name="T77" fmla="*/ 420 h 420"/>
                <a:gd name="T78" fmla="*/ 99 w 278"/>
                <a:gd name="T79" fmla="*/ 418 h 420"/>
                <a:gd name="T80" fmla="*/ 73 w 278"/>
                <a:gd name="T81" fmla="*/ 410 h 420"/>
                <a:gd name="T82" fmla="*/ 52 w 278"/>
                <a:gd name="T83" fmla="*/ 396 h 420"/>
                <a:gd name="T84" fmla="*/ 34 w 278"/>
                <a:gd name="T85" fmla="*/ 378 h 420"/>
                <a:gd name="T86" fmla="*/ 20 w 278"/>
                <a:gd name="T87" fmla="*/ 357 h 420"/>
                <a:gd name="T88" fmla="*/ 10 w 278"/>
                <a:gd name="T89" fmla="*/ 331 h 420"/>
                <a:gd name="T90" fmla="*/ 2 w 278"/>
                <a:gd name="T91" fmla="*/ 301 h 420"/>
                <a:gd name="T92" fmla="*/ 0 w 278"/>
                <a:gd name="T93" fmla="*/ 269 h 420"/>
                <a:gd name="T94" fmla="*/ 2 w 278"/>
                <a:gd name="T95" fmla="*/ 236 h 420"/>
                <a:gd name="T96" fmla="*/ 10 w 278"/>
                <a:gd name="T97" fmla="*/ 208 h 420"/>
                <a:gd name="T98" fmla="*/ 20 w 278"/>
                <a:gd name="T99" fmla="*/ 182 h 420"/>
                <a:gd name="T100" fmla="*/ 36 w 278"/>
                <a:gd name="T101" fmla="*/ 160 h 420"/>
                <a:gd name="T102" fmla="*/ 54 w 278"/>
                <a:gd name="T103" fmla="*/ 141 h 420"/>
                <a:gd name="T104" fmla="*/ 77 w 278"/>
                <a:gd name="T105" fmla="*/ 129 h 420"/>
                <a:gd name="T106" fmla="*/ 103 w 278"/>
                <a:gd name="T107" fmla="*/ 119 h 420"/>
                <a:gd name="T108" fmla="*/ 133 w 278"/>
                <a:gd name="T109" fmla="*/ 117 h 420"/>
                <a:gd name="T110" fmla="*/ 163 w 278"/>
                <a:gd name="T111" fmla="*/ 121 h 420"/>
                <a:gd name="T112" fmla="*/ 188 w 278"/>
                <a:gd name="T113" fmla="*/ 129 h 420"/>
                <a:gd name="T114" fmla="*/ 208 w 278"/>
                <a:gd name="T115" fmla="*/ 143 h 420"/>
                <a:gd name="T116" fmla="*/ 226 w 278"/>
                <a:gd name="T117" fmla="*/ 162 h 420"/>
                <a:gd name="T118" fmla="*/ 226 w 278"/>
                <a:gd name="T1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8" h="420">
                  <a:moveTo>
                    <a:pt x="141" y="160"/>
                  </a:moveTo>
                  <a:lnTo>
                    <a:pt x="115" y="164"/>
                  </a:lnTo>
                  <a:lnTo>
                    <a:pt x="93" y="174"/>
                  </a:lnTo>
                  <a:lnTo>
                    <a:pt x="77" y="190"/>
                  </a:lnTo>
                  <a:lnTo>
                    <a:pt x="64" y="210"/>
                  </a:lnTo>
                  <a:lnTo>
                    <a:pt x="58" y="238"/>
                  </a:lnTo>
                  <a:lnTo>
                    <a:pt x="54" y="269"/>
                  </a:lnTo>
                  <a:lnTo>
                    <a:pt x="58" y="301"/>
                  </a:lnTo>
                  <a:lnTo>
                    <a:pt x="64" y="327"/>
                  </a:lnTo>
                  <a:lnTo>
                    <a:pt x="77" y="349"/>
                  </a:lnTo>
                  <a:lnTo>
                    <a:pt x="93" y="365"/>
                  </a:lnTo>
                  <a:lnTo>
                    <a:pt x="115" y="372"/>
                  </a:lnTo>
                  <a:lnTo>
                    <a:pt x="141" y="376"/>
                  </a:lnTo>
                  <a:lnTo>
                    <a:pt x="167" y="372"/>
                  </a:lnTo>
                  <a:lnTo>
                    <a:pt x="186" y="363"/>
                  </a:lnTo>
                  <a:lnTo>
                    <a:pt x="204" y="347"/>
                  </a:lnTo>
                  <a:lnTo>
                    <a:pt x="216" y="325"/>
                  </a:lnTo>
                  <a:lnTo>
                    <a:pt x="224" y="299"/>
                  </a:lnTo>
                  <a:lnTo>
                    <a:pt x="226" y="269"/>
                  </a:lnTo>
                  <a:lnTo>
                    <a:pt x="224" y="236"/>
                  </a:lnTo>
                  <a:lnTo>
                    <a:pt x="218" y="210"/>
                  </a:lnTo>
                  <a:lnTo>
                    <a:pt x="204" y="188"/>
                  </a:lnTo>
                  <a:lnTo>
                    <a:pt x="188" y="174"/>
                  </a:lnTo>
                  <a:lnTo>
                    <a:pt x="167" y="164"/>
                  </a:lnTo>
                  <a:lnTo>
                    <a:pt x="141" y="160"/>
                  </a:lnTo>
                  <a:close/>
                  <a:moveTo>
                    <a:pt x="226" y="0"/>
                  </a:moveTo>
                  <a:lnTo>
                    <a:pt x="278" y="0"/>
                  </a:lnTo>
                  <a:lnTo>
                    <a:pt x="278" y="412"/>
                  </a:lnTo>
                  <a:lnTo>
                    <a:pt x="250" y="412"/>
                  </a:lnTo>
                  <a:lnTo>
                    <a:pt x="242" y="412"/>
                  </a:lnTo>
                  <a:lnTo>
                    <a:pt x="236" y="410"/>
                  </a:lnTo>
                  <a:lnTo>
                    <a:pt x="230" y="406"/>
                  </a:lnTo>
                  <a:lnTo>
                    <a:pt x="228" y="400"/>
                  </a:lnTo>
                  <a:lnTo>
                    <a:pt x="226" y="392"/>
                  </a:lnTo>
                  <a:lnTo>
                    <a:pt x="226" y="370"/>
                  </a:lnTo>
                  <a:lnTo>
                    <a:pt x="210" y="390"/>
                  </a:lnTo>
                  <a:lnTo>
                    <a:pt x="188" y="406"/>
                  </a:lnTo>
                  <a:lnTo>
                    <a:pt x="161" y="416"/>
                  </a:lnTo>
                  <a:lnTo>
                    <a:pt x="129" y="420"/>
                  </a:lnTo>
                  <a:lnTo>
                    <a:pt x="99" y="418"/>
                  </a:lnTo>
                  <a:lnTo>
                    <a:pt x="73" y="410"/>
                  </a:lnTo>
                  <a:lnTo>
                    <a:pt x="52" y="396"/>
                  </a:lnTo>
                  <a:lnTo>
                    <a:pt x="34" y="378"/>
                  </a:lnTo>
                  <a:lnTo>
                    <a:pt x="20" y="357"/>
                  </a:lnTo>
                  <a:lnTo>
                    <a:pt x="10" y="331"/>
                  </a:lnTo>
                  <a:lnTo>
                    <a:pt x="2" y="301"/>
                  </a:lnTo>
                  <a:lnTo>
                    <a:pt x="0" y="269"/>
                  </a:lnTo>
                  <a:lnTo>
                    <a:pt x="2" y="236"/>
                  </a:lnTo>
                  <a:lnTo>
                    <a:pt x="10" y="208"/>
                  </a:lnTo>
                  <a:lnTo>
                    <a:pt x="20" y="182"/>
                  </a:lnTo>
                  <a:lnTo>
                    <a:pt x="36" y="160"/>
                  </a:lnTo>
                  <a:lnTo>
                    <a:pt x="54" y="141"/>
                  </a:lnTo>
                  <a:lnTo>
                    <a:pt x="77" y="129"/>
                  </a:lnTo>
                  <a:lnTo>
                    <a:pt x="103" y="119"/>
                  </a:lnTo>
                  <a:lnTo>
                    <a:pt x="133" y="117"/>
                  </a:lnTo>
                  <a:lnTo>
                    <a:pt x="163" y="121"/>
                  </a:lnTo>
                  <a:lnTo>
                    <a:pt x="188" y="129"/>
                  </a:lnTo>
                  <a:lnTo>
                    <a:pt x="208" y="143"/>
                  </a:lnTo>
                  <a:lnTo>
                    <a:pt x="226" y="162"/>
                  </a:lnTo>
                  <a:lnTo>
                    <a:pt x="226"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sp>
          <p:nvSpPr>
            <p:cNvPr id="39" name="Freeform 60">
              <a:extLst>
                <a:ext uri="{FF2B5EF4-FFF2-40B4-BE49-F238E27FC236}">
                  <a16:creationId xmlns:a16="http://schemas.microsoft.com/office/drawing/2014/main" id="{4ADD3D00-2902-4A88-BA72-882EA5168CA3}"/>
                </a:ext>
              </a:extLst>
            </p:cNvPr>
            <p:cNvSpPr>
              <a:spLocks noEditPoints="1"/>
            </p:cNvSpPr>
            <p:nvPr userDrawn="1"/>
          </p:nvSpPr>
          <p:spPr bwMode="auto">
            <a:xfrm>
              <a:off x="3293441" y="1573735"/>
              <a:ext cx="113744" cy="134024"/>
            </a:xfrm>
            <a:custGeom>
              <a:avLst/>
              <a:gdLst>
                <a:gd name="T0" fmla="*/ 139 w 258"/>
                <a:gd name="T1" fmla="*/ 43 h 303"/>
                <a:gd name="T2" fmla="*/ 117 w 258"/>
                <a:gd name="T3" fmla="*/ 45 h 303"/>
                <a:gd name="T4" fmla="*/ 97 w 258"/>
                <a:gd name="T5" fmla="*/ 51 h 303"/>
                <a:gd name="T6" fmla="*/ 81 w 258"/>
                <a:gd name="T7" fmla="*/ 65 h 303"/>
                <a:gd name="T8" fmla="*/ 67 w 258"/>
                <a:gd name="T9" fmla="*/ 81 h 303"/>
                <a:gd name="T10" fmla="*/ 57 w 258"/>
                <a:gd name="T11" fmla="*/ 101 h 303"/>
                <a:gd name="T12" fmla="*/ 54 w 258"/>
                <a:gd name="T13" fmla="*/ 125 h 303"/>
                <a:gd name="T14" fmla="*/ 208 w 258"/>
                <a:gd name="T15" fmla="*/ 125 h 303"/>
                <a:gd name="T16" fmla="*/ 208 w 258"/>
                <a:gd name="T17" fmla="*/ 121 h 303"/>
                <a:gd name="T18" fmla="*/ 206 w 258"/>
                <a:gd name="T19" fmla="*/ 97 h 303"/>
                <a:gd name="T20" fmla="*/ 200 w 258"/>
                <a:gd name="T21" fmla="*/ 77 h 303"/>
                <a:gd name="T22" fmla="*/ 190 w 258"/>
                <a:gd name="T23" fmla="*/ 63 h 303"/>
                <a:gd name="T24" fmla="*/ 176 w 258"/>
                <a:gd name="T25" fmla="*/ 51 h 303"/>
                <a:gd name="T26" fmla="*/ 161 w 258"/>
                <a:gd name="T27" fmla="*/ 45 h 303"/>
                <a:gd name="T28" fmla="*/ 139 w 258"/>
                <a:gd name="T29" fmla="*/ 43 h 303"/>
                <a:gd name="T30" fmla="*/ 139 w 258"/>
                <a:gd name="T31" fmla="*/ 0 h 303"/>
                <a:gd name="T32" fmla="*/ 166 w 258"/>
                <a:gd name="T33" fmla="*/ 2 h 303"/>
                <a:gd name="T34" fmla="*/ 190 w 258"/>
                <a:gd name="T35" fmla="*/ 10 h 303"/>
                <a:gd name="T36" fmla="*/ 210 w 258"/>
                <a:gd name="T37" fmla="*/ 22 h 303"/>
                <a:gd name="T38" fmla="*/ 226 w 258"/>
                <a:gd name="T39" fmla="*/ 35 h 303"/>
                <a:gd name="T40" fmla="*/ 240 w 258"/>
                <a:gd name="T41" fmla="*/ 55 h 303"/>
                <a:gd name="T42" fmla="*/ 250 w 258"/>
                <a:gd name="T43" fmla="*/ 77 h 303"/>
                <a:gd name="T44" fmla="*/ 256 w 258"/>
                <a:gd name="T45" fmla="*/ 103 h 303"/>
                <a:gd name="T46" fmla="*/ 258 w 258"/>
                <a:gd name="T47" fmla="*/ 131 h 303"/>
                <a:gd name="T48" fmla="*/ 254 w 258"/>
                <a:gd name="T49" fmla="*/ 164 h 303"/>
                <a:gd name="T50" fmla="*/ 52 w 258"/>
                <a:gd name="T51" fmla="*/ 164 h 303"/>
                <a:gd name="T52" fmla="*/ 55 w 258"/>
                <a:gd name="T53" fmla="*/ 192 h 303"/>
                <a:gd name="T54" fmla="*/ 65 w 258"/>
                <a:gd name="T55" fmla="*/ 216 h 303"/>
                <a:gd name="T56" fmla="*/ 79 w 258"/>
                <a:gd name="T57" fmla="*/ 236 h 303"/>
                <a:gd name="T58" fmla="*/ 99 w 258"/>
                <a:gd name="T59" fmla="*/ 248 h 303"/>
                <a:gd name="T60" fmla="*/ 123 w 258"/>
                <a:gd name="T61" fmla="*/ 255 h 303"/>
                <a:gd name="T62" fmla="*/ 151 w 258"/>
                <a:gd name="T63" fmla="*/ 259 h 303"/>
                <a:gd name="T64" fmla="*/ 180 w 258"/>
                <a:gd name="T65" fmla="*/ 255 h 303"/>
                <a:gd name="T66" fmla="*/ 204 w 258"/>
                <a:gd name="T67" fmla="*/ 249 h 303"/>
                <a:gd name="T68" fmla="*/ 224 w 258"/>
                <a:gd name="T69" fmla="*/ 236 h 303"/>
                <a:gd name="T70" fmla="*/ 246 w 258"/>
                <a:gd name="T71" fmla="*/ 269 h 303"/>
                <a:gd name="T72" fmla="*/ 226 w 258"/>
                <a:gd name="T73" fmla="*/ 285 h 303"/>
                <a:gd name="T74" fmla="*/ 202 w 258"/>
                <a:gd name="T75" fmla="*/ 295 h 303"/>
                <a:gd name="T76" fmla="*/ 176 w 258"/>
                <a:gd name="T77" fmla="*/ 301 h 303"/>
                <a:gd name="T78" fmla="*/ 147 w 258"/>
                <a:gd name="T79" fmla="*/ 303 h 303"/>
                <a:gd name="T80" fmla="*/ 115 w 258"/>
                <a:gd name="T81" fmla="*/ 301 h 303"/>
                <a:gd name="T82" fmla="*/ 85 w 258"/>
                <a:gd name="T83" fmla="*/ 293 h 303"/>
                <a:gd name="T84" fmla="*/ 61 w 258"/>
                <a:gd name="T85" fmla="*/ 281 h 303"/>
                <a:gd name="T86" fmla="*/ 40 w 258"/>
                <a:gd name="T87" fmla="*/ 263 h 303"/>
                <a:gd name="T88" fmla="*/ 24 w 258"/>
                <a:gd name="T89" fmla="*/ 242 h 303"/>
                <a:gd name="T90" fmla="*/ 10 w 258"/>
                <a:gd name="T91" fmla="*/ 216 h 303"/>
                <a:gd name="T92" fmla="*/ 2 w 258"/>
                <a:gd name="T93" fmla="*/ 184 h 303"/>
                <a:gd name="T94" fmla="*/ 0 w 258"/>
                <a:gd name="T95" fmla="*/ 148 h 303"/>
                <a:gd name="T96" fmla="*/ 2 w 258"/>
                <a:gd name="T97" fmla="*/ 115 h 303"/>
                <a:gd name="T98" fmla="*/ 10 w 258"/>
                <a:gd name="T99" fmla="*/ 85 h 303"/>
                <a:gd name="T100" fmla="*/ 24 w 258"/>
                <a:gd name="T101" fmla="*/ 59 h 303"/>
                <a:gd name="T102" fmla="*/ 40 w 258"/>
                <a:gd name="T103" fmla="*/ 39 h 303"/>
                <a:gd name="T104" fmla="*/ 59 w 258"/>
                <a:gd name="T105" fmla="*/ 22 h 303"/>
                <a:gd name="T106" fmla="*/ 83 w 258"/>
                <a:gd name="T107" fmla="*/ 10 h 303"/>
                <a:gd name="T108" fmla="*/ 109 w 258"/>
                <a:gd name="T109" fmla="*/ 2 h 303"/>
                <a:gd name="T110" fmla="*/ 139 w 258"/>
                <a:gd name="T111"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 h="303">
                  <a:moveTo>
                    <a:pt x="139" y="43"/>
                  </a:moveTo>
                  <a:lnTo>
                    <a:pt x="117" y="45"/>
                  </a:lnTo>
                  <a:lnTo>
                    <a:pt x="97" y="51"/>
                  </a:lnTo>
                  <a:lnTo>
                    <a:pt x="81" y="65"/>
                  </a:lnTo>
                  <a:lnTo>
                    <a:pt x="67" y="81"/>
                  </a:lnTo>
                  <a:lnTo>
                    <a:pt x="57" y="101"/>
                  </a:lnTo>
                  <a:lnTo>
                    <a:pt x="54" y="125"/>
                  </a:lnTo>
                  <a:lnTo>
                    <a:pt x="208" y="125"/>
                  </a:lnTo>
                  <a:lnTo>
                    <a:pt x="208" y="121"/>
                  </a:lnTo>
                  <a:lnTo>
                    <a:pt x="206" y="97"/>
                  </a:lnTo>
                  <a:lnTo>
                    <a:pt x="200" y="77"/>
                  </a:lnTo>
                  <a:lnTo>
                    <a:pt x="190" y="63"/>
                  </a:lnTo>
                  <a:lnTo>
                    <a:pt x="176" y="51"/>
                  </a:lnTo>
                  <a:lnTo>
                    <a:pt x="161" y="45"/>
                  </a:lnTo>
                  <a:lnTo>
                    <a:pt x="139" y="43"/>
                  </a:lnTo>
                  <a:close/>
                  <a:moveTo>
                    <a:pt x="139" y="0"/>
                  </a:moveTo>
                  <a:lnTo>
                    <a:pt x="166" y="2"/>
                  </a:lnTo>
                  <a:lnTo>
                    <a:pt x="190" y="10"/>
                  </a:lnTo>
                  <a:lnTo>
                    <a:pt x="210" y="22"/>
                  </a:lnTo>
                  <a:lnTo>
                    <a:pt x="226" y="35"/>
                  </a:lnTo>
                  <a:lnTo>
                    <a:pt x="240" y="55"/>
                  </a:lnTo>
                  <a:lnTo>
                    <a:pt x="250" y="77"/>
                  </a:lnTo>
                  <a:lnTo>
                    <a:pt x="256" y="103"/>
                  </a:lnTo>
                  <a:lnTo>
                    <a:pt x="258" y="131"/>
                  </a:lnTo>
                  <a:lnTo>
                    <a:pt x="254" y="164"/>
                  </a:lnTo>
                  <a:lnTo>
                    <a:pt x="52" y="164"/>
                  </a:lnTo>
                  <a:lnTo>
                    <a:pt x="55" y="192"/>
                  </a:lnTo>
                  <a:lnTo>
                    <a:pt x="65" y="216"/>
                  </a:lnTo>
                  <a:lnTo>
                    <a:pt x="79" y="236"/>
                  </a:lnTo>
                  <a:lnTo>
                    <a:pt x="99" y="248"/>
                  </a:lnTo>
                  <a:lnTo>
                    <a:pt x="123" y="255"/>
                  </a:lnTo>
                  <a:lnTo>
                    <a:pt x="151" y="259"/>
                  </a:lnTo>
                  <a:lnTo>
                    <a:pt x="180" y="255"/>
                  </a:lnTo>
                  <a:lnTo>
                    <a:pt x="204" y="249"/>
                  </a:lnTo>
                  <a:lnTo>
                    <a:pt x="224" y="236"/>
                  </a:lnTo>
                  <a:lnTo>
                    <a:pt x="246" y="269"/>
                  </a:lnTo>
                  <a:lnTo>
                    <a:pt x="226" y="285"/>
                  </a:lnTo>
                  <a:lnTo>
                    <a:pt x="202" y="295"/>
                  </a:lnTo>
                  <a:lnTo>
                    <a:pt x="176" y="301"/>
                  </a:lnTo>
                  <a:lnTo>
                    <a:pt x="147" y="303"/>
                  </a:lnTo>
                  <a:lnTo>
                    <a:pt x="115" y="301"/>
                  </a:lnTo>
                  <a:lnTo>
                    <a:pt x="85" y="293"/>
                  </a:lnTo>
                  <a:lnTo>
                    <a:pt x="61" y="281"/>
                  </a:lnTo>
                  <a:lnTo>
                    <a:pt x="40" y="263"/>
                  </a:lnTo>
                  <a:lnTo>
                    <a:pt x="24" y="242"/>
                  </a:lnTo>
                  <a:lnTo>
                    <a:pt x="10" y="216"/>
                  </a:lnTo>
                  <a:lnTo>
                    <a:pt x="2" y="184"/>
                  </a:lnTo>
                  <a:lnTo>
                    <a:pt x="0" y="148"/>
                  </a:lnTo>
                  <a:lnTo>
                    <a:pt x="2" y="115"/>
                  </a:lnTo>
                  <a:lnTo>
                    <a:pt x="10" y="85"/>
                  </a:lnTo>
                  <a:lnTo>
                    <a:pt x="24" y="59"/>
                  </a:lnTo>
                  <a:lnTo>
                    <a:pt x="40" y="39"/>
                  </a:lnTo>
                  <a:lnTo>
                    <a:pt x="59" y="22"/>
                  </a:lnTo>
                  <a:lnTo>
                    <a:pt x="83" y="10"/>
                  </a:lnTo>
                  <a:lnTo>
                    <a:pt x="109" y="2"/>
                  </a:lnTo>
                  <a:lnTo>
                    <a:pt x="139"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prstClr val="white"/>
                </a:solidFill>
              </a:endParaRPr>
            </a:p>
          </p:txBody>
        </p:sp>
      </p:grpSp>
    </p:spTree>
    <p:extLst>
      <p:ext uri="{BB962C8B-B14F-4D97-AF65-F5344CB8AC3E}">
        <p14:creationId xmlns:p14="http://schemas.microsoft.com/office/powerpoint/2010/main" val="184686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ection Header - dark gradien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471951" y="2612139"/>
            <a:ext cx="11248100" cy="898708"/>
          </a:xfrm>
        </p:spPr>
        <p:txBody>
          <a:bodyPr anchor="b" anchorCtr="0">
            <a:spAutoFit/>
          </a:bodyPr>
          <a:lstStyle>
            <a:lvl1pPr algn="l">
              <a:lnSpc>
                <a:spcPct val="70000"/>
              </a:lnSpc>
              <a:defRPr sz="7200" b="0">
                <a:solidFill>
                  <a:schemeClr val="tx1">
                    <a:alpha val="90000"/>
                  </a:schemeClr>
                </a:solidFill>
                <a:latin typeface="+mj-lt"/>
              </a:defRPr>
            </a:lvl1pPr>
          </a:lstStyle>
          <a:p>
            <a:r>
              <a:rPr lang="en-US" dirty="0"/>
              <a:t>Click to edit title</a:t>
            </a:r>
          </a:p>
        </p:txBody>
      </p:sp>
      <p:sp>
        <p:nvSpPr>
          <p:cNvPr id="4" name="Text Placeholder 3"/>
          <p:cNvSpPr>
            <a:spLocks noGrp="1"/>
          </p:cNvSpPr>
          <p:nvPr>
            <p:ph type="body" sz="quarter" idx="11" hasCustomPrompt="1"/>
          </p:nvPr>
        </p:nvSpPr>
        <p:spPr>
          <a:xfrm>
            <a:off x="471951" y="3510847"/>
            <a:ext cx="11248100" cy="1600439"/>
          </a:xfrm>
        </p:spPr>
        <p:txBody>
          <a:bodyPr>
            <a:spAutoFit/>
          </a:bodyPr>
          <a:lstStyle>
            <a:lvl1pPr>
              <a:spcBef>
                <a:spcPts val="0"/>
              </a:spcBef>
              <a:buClr>
                <a:schemeClr val="accent2"/>
              </a:buClr>
              <a:defRPr sz="2133">
                <a:solidFill>
                  <a:schemeClr val="accent2">
                    <a:lumMod val="40000"/>
                    <a:lumOff val="60000"/>
                  </a:schemeClr>
                </a:solidFill>
              </a:defRPr>
            </a:lvl1pPr>
            <a:lvl2pPr>
              <a:spcBef>
                <a:spcPts val="0"/>
              </a:spcBef>
              <a:buClrTx/>
              <a:defRPr sz="1867">
                <a:solidFill>
                  <a:schemeClr val="accent2">
                    <a:lumMod val="40000"/>
                    <a:lumOff val="60000"/>
                  </a:schemeClr>
                </a:solidFill>
              </a:defRPr>
            </a:lvl2pPr>
            <a:lvl3pPr>
              <a:spcBef>
                <a:spcPts val="0"/>
              </a:spcBef>
              <a:buClrTx/>
              <a:defRPr sz="1867">
                <a:solidFill>
                  <a:schemeClr val="accent2">
                    <a:lumMod val="40000"/>
                    <a:lumOff val="60000"/>
                  </a:schemeClr>
                </a:solidFill>
              </a:defRPr>
            </a:lvl3pPr>
            <a:lvl4pPr>
              <a:spcBef>
                <a:spcPts val="0"/>
              </a:spcBef>
              <a:buClrTx/>
              <a:defRPr sz="1867">
                <a:solidFill>
                  <a:schemeClr val="accent2">
                    <a:lumMod val="40000"/>
                    <a:lumOff val="60000"/>
                  </a:schemeClr>
                </a:solidFill>
              </a:defRPr>
            </a:lvl4pPr>
            <a:lvl5pPr>
              <a:spcBef>
                <a:spcPts val="0"/>
              </a:spcBef>
              <a:buClrTx/>
              <a:defRPr sz="1867">
                <a:solidFill>
                  <a:schemeClr val="accent2">
                    <a:lumMod val="40000"/>
                    <a:lumOff val="60000"/>
                  </a:schemeClr>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
          <p:cNvSpPr>
            <a:spLocks noGrp="1"/>
          </p:cNvSpPr>
          <p:nvPr>
            <p:ph type="sldNum" sz="quarter" idx="12"/>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Tree>
    <p:extLst>
      <p:ext uri="{BB962C8B-B14F-4D97-AF65-F5344CB8AC3E}">
        <p14:creationId xmlns:p14="http://schemas.microsoft.com/office/powerpoint/2010/main" val="94778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Photo Section Header - dark gradien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471951" y="3544791"/>
            <a:ext cx="11248100" cy="898708"/>
          </a:xfrm>
        </p:spPr>
        <p:txBody>
          <a:bodyPr anchor="t" anchorCtr="0">
            <a:spAutoFit/>
          </a:bodyPr>
          <a:lstStyle>
            <a:lvl1pPr algn="l">
              <a:lnSpc>
                <a:spcPct val="70000"/>
              </a:lnSpc>
              <a:defRPr sz="7200" b="0">
                <a:solidFill>
                  <a:schemeClr val="tx1">
                    <a:alpha val="90000"/>
                  </a:schemeClr>
                </a:solidFill>
                <a:latin typeface="+mj-lt"/>
              </a:defRPr>
            </a:lvl1pPr>
          </a:lstStyle>
          <a:p>
            <a:r>
              <a:rPr lang="en-US" dirty="0"/>
              <a:t>Click to edit title</a:t>
            </a:r>
          </a:p>
        </p:txBody>
      </p:sp>
      <p:sp>
        <p:nvSpPr>
          <p:cNvPr id="4" name="Text Placeholder 3"/>
          <p:cNvSpPr>
            <a:spLocks noGrp="1"/>
          </p:cNvSpPr>
          <p:nvPr>
            <p:ph type="body" sz="quarter" idx="11" hasCustomPrompt="1"/>
          </p:nvPr>
        </p:nvSpPr>
        <p:spPr>
          <a:xfrm>
            <a:off x="471951" y="4443499"/>
            <a:ext cx="11248100" cy="1600439"/>
          </a:xfrm>
        </p:spPr>
        <p:txBody>
          <a:bodyPr>
            <a:spAutoFit/>
          </a:bodyPr>
          <a:lstStyle>
            <a:lvl1pPr>
              <a:spcBef>
                <a:spcPts val="0"/>
              </a:spcBef>
              <a:buClr>
                <a:schemeClr val="accent2"/>
              </a:buClr>
              <a:defRPr sz="2133">
                <a:solidFill>
                  <a:schemeClr val="accent2">
                    <a:lumMod val="40000"/>
                    <a:lumOff val="60000"/>
                  </a:schemeClr>
                </a:solidFill>
              </a:defRPr>
            </a:lvl1pPr>
            <a:lvl2pPr>
              <a:spcBef>
                <a:spcPts val="0"/>
              </a:spcBef>
              <a:buClrTx/>
              <a:defRPr sz="1867">
                <a:solidFill>
                  <a:schemeClr val="accent2">
                    <a:lumMod val="40000"/>
                    <a:lumOff val="60000"/>
                  </a:schemeClr>
                </a:solidFill>
              </a:defRPr>
            </a:lvl2pPr>
            <a:lvl3pPr>
              <a:spcBef>
                <a:spcPts val="0"/>
              </a:spcBef>
              <a:buClrTx/>
              <a:defRPr sz="1867">
                <a:solidFill>
                  <a:schemeClr val="accent2">
                    <a:lumMod val="40000"/>
                    <a:lumOff val="60000"/>
                  </a:schemeClr>
                </a:solidFill>
              </a:defRPr>
            </a:lvl3pPr>
            <a:lvl4pPr>
              <a:spcBef>
                <a:spcPts val="0"/>
              </a:spcBef>
              <a:buClrTx/>
              <a:defRPr sz="1867">
                <a:solidFill>
                  <a:schemeClr val="accent2">
                    <a:lumMod val="40000"/>
                    <a:lumOff val="60000"/>
                  </a:schemeClr>
                </a:solidFill>
              </a:defRPr>
            </a:lvl4pPr>
            <a:lvl5pPr>
              <a:spcBef>
                <a:spcPts val="0"/>
              </a:spcBef>
              <a:buClrTx/>
              <a:defRPr sz="1867">
                <a:solidFill>
                  <a:schemeClr val="accent2">
                    <a:lumMod val="40000"/>
                    <a:lumOff val="60000"/>
                  </a:schemeClr>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14"/>
          <p:cNvSpPr>
            <a:spLocks noGrp="1"/>
          </p:cNvSpPr>
          <p:nvPr>
            <p:ph type="pic" sz="quarter" idx="12"/>
          </p:nvPr>
        </p:nvSpPr>
        <p:spPr>
          <a:xfrm>
            <a:off x="0" y="0"/>
            <a:ext cx="12192000" cy="3432176"/>
          </a:xfrm>
        </p:spPr>
        <p:txBody>
          <a:bodyPr/>
          <a:lstStyle>
            <a:lvl1pPr>
              <a:defRPr>
                <a:solidFill>
                  <a:schemeClr val="tx1"/>
                </a:solidFill>
              </a:defRPr>
            </a:lvl1pPr>
          </a:lstStyle>
          <a:p>
            <a:endParaRPr lang="en-US" dirty="0"/>
          </a:p>
        </p:txBody>
      </p:sp>
      <p:sp>
        <p:nvSpPr>
          <p:cNvPr id="2" name="Slide Number Placeholder 1"/>
          <p:cNvSpPr>
            <a:spLocks noGrp="1"/>
          </p:cNvSpPr>
          <p:nvPr>
            <p:ph type="sldNum" sz="quarter" idx="13"/>
          </p:nvPr>
        </p:nvSpPr>
        <p:spPr>
          <a:xfrm>
            <a:off x="11797793" y="6553187"/>
            <a:ext cx="170987" cy="164148"/>
          </a:xfrm>
          <a:prstGeom prst="rect">
            <a:avLst/>
          </a:prstGeom>
        </p:spPr>
        <p:txBody>
          <a:bodyPr/>
          <a:lstStyle/>
          <a:p>
            <a:pPr eaLnBrk="0" fontAlgn="base" hangingPunct="0">
              <a:spcBef>
                <a:spcPct val="50000"/>
              </a:spcBef>
              <a:spcAft>
                <a:spcPct val="0"/>
              </a:spcAft>
            </a:pPr>
            <a:fld id="{FD44707B-D922-47D5-BD24-D96E91B70543}" type="slidenum">
              <a:rPr/>
              <a:pPr eaLnBrk="0" fontAlgn="base" hangingPunct="0">
                <a:spcBef>
                  <a:spcPct val="50000"/>
                </a:spcBef>
                <a:spcAft>
                  <a:spcPct val="0"/>
                </a:spcAft>
              </a:pPr>
              <a:t>‹#›</a:t>
            </a:fld>
            <a:endParaRPr dirty="0"/>
          </a:p>
        </p:txBody>
      </p:sp>
    </p:spTree>
    <p:extLst>
      <p:ext uri="{BB962C8B-B14F-4D97-AF65-F5344CB8AC3E}">
        <p14:creationId xmlns:p14="http://schemas.microsoft.com/office/powerpoint/2010/main" val="561721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Final Slide">
    <p:spTree>
      <p:nvGrpSpPr>
        <p:cNvPr id="1" name=""/>
        <p:cNvGrpSpPr/>
        <p:nvPr/>
      </p:nvGrpSpPr>
      <p:grpSpPr>
        <a:xfrm>
          <a:off x="0" y="0"/>
          <a:ext cx="0" cy="0"/>
          <a:chOff x="0" y="0"/>
          <a:chExt cx="0" cy="0"/>
        </a:xfrm>
      </p:grpSpPr>
      <p:grpSp>
        <p:nvGrpSpPr>
          <p:cNvPr id="11" name="Group 10"/>
          <p:cNvGrpSpPr/>
          <p:nvPr userDrawn="1"/>
        </p:nvGrpSpPr>
        <p:grpSpPr>
          <a:xfrm>
            <a:off x="4690113" y="2500173"/>
            <a:ext cx="2811779" cy="1853184"/>
            <a:chOff x="451796" y="386081"/>
            <a:chExt cx="1249194" cy="823318"/>
          </a:xfrm>
        </p:grpSpPr>
        <p:sp>
          <p:nvSpPr>
            <p:cNvPr id="12"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prstClr val="white"/>
                </a:solidFill>
              </a:endParaRPr>
            </a:p>
          </p:txBody>
        </p:sp>
        <p:sp>
          <p:nvSpPr>
            <p:cNvPr id="13"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prstClr val="white"/>
                </a:solidFill>
              </a:endParaRPr>
            </a:p>
          </p:txBody>
        </p:sp>
      </p:grpSp>
    </p:spTree>
    <p:extLst>
      <p:ext uri="{BB962C8B-B14F-4D97-AF65-F5344CB8AC3E}">
        <p14:creationId xmlns:p14="http://schemas.microsoft.com/office/powerpoint/2010/main" val="35821871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EFCA01-546B-4FFE-83AC-E79D15A8CDFE}"/>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3" name="Footer Placeholder 2">
            <a:extLst>
              <a:ext uri="{FF2B5EF4-FFF2-40B4-BE49-F238E27FC236}">
                <a16:creationId xmlns:a16="http://schemas.microsoft.com/office/drawing/2014/main" id="{DE5055E4-8D18-4255-98BA-3AEE33BFFF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01FA504-D155-40EB-92E8-6E9BB85D87B6}"/>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2188051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76B1A-0634-47A1-AF1B-ECA9DD9699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B8B1008-4412-4E3D-99A2-4EF4A2B2DC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CA848B-82FD-4972-881A-6EAAA5B8E7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0A80E1-43C4-4BFF-89AA-636A43602C47}"/>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6" name="Footer Placeholder 5">
            <a:extLst>
              <a:ext uri="{FF2B5EF4-FFF2-40B4-BE49-F238E27FC236}">
                <a16:creationId xmlns:a16="http://schemas.microsoft.com/office/drawing/2014/main" id="{D93C93C8-B8A7-40C2-9B6E-D92D5B6148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C7FC68-F35A-47C4-8EAF-926C07EF134E}"/>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790211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E2E88-66B2-473F-B4F8-A607887374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7CFBF48-7E3C-4FAC-A924-57BA927F1E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5F00A9-58EA-45D5-A02C-9A65550B4B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D21940-D6F0-4B9F-8470-06D41D7C3EDA}"/>
              </a:ext>
            </a:extLst>
          </p:cNvPr>
          <p:cNvSpPr>
            <a:spLocks noGrp="1"/>
          </p:cNvSpPr>
          <p:nvPr>
            <p:ph type="dt" sz="half" idx="10"/>
          </p:nvPr>
        </p:nvSpPr>
        <p:spPr/>
        <p:txBody>
          <a:bodyPr/>
          <a:lstStyle/>
          <a:p>
            <a:fld id="{E12FD971-E3C4-4080-B200-EB84B3A3C463}" type="datetimeFigureOut">
              <a:rPr lang="en-US" smtClean="0"/>
              <a:t>8/19/2020</a:t>
            </a:fld>
            <a:endParaRPr lang="en-US"/>
          </a:p>
        </p:txBody>
      </p:sp>
      <p:sp>
        <p:nvSpPr>
          <p:cNvPr id="6" name="Footer Placeholder 5">
            <a:extLst>
              <a:ext uri="{FF2B5EF4-FFF2-40B4-BE49-F238E27FC236}">
                <a16:creationId xmlns:a16="http://schemas.microsoft.com/office/drawing/2014/main" id="{93061E50-5D2C-4743-A025-A8207FE4C8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8F3A0C-79AB-4F38-BF27-D10874730577}"/>
              </a:ext>
            </a:extLst>
          </p:cNvPr>
          <p:cNvSpPr>
            <a:spLocks noGrp="1"/>
          </p:cNvSpPr>
          <p:nvPr>
            <p:ph type="sldNum" sz="quarter" idx="12"/>
          </p:nvPr>
        </p:nvSpPr>
        <p:spPr/>
        <p:txBody>
          <a:bodyPr/>
          <a:lstStyle/>
          <a:p>
            <a:fld id="{524D0BEB-66D6-4862-B360-B4BADAB20C96}" type="slidenum">
              <a:rPr lang="en-US" smtClean="0"/>
              <a:t>‹#›</a:t>
            </a:fld>
            <a:endParaRPr lang="en-US"/>
          </a:p>
        </p:txBody>
      </p:sp>
    </p:spTree>
    <p:extLst>
      <p:ext uri="{BB962C8B-B14F-4D97-AF65-F5344CB8AC3E}">
        <p14:creationId xmlns:p14="http://schemas.microsoft.com/office/powerpoint/2010/main" val="3131065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9.jpeg"/><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E1C78C-59C5-40FF-A006-A2E7E4B2EC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7A717B-9C7A-44DB-99A1-2A6B83240F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1268B6-E896-40E6-8A61-12A2B001C6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2FD971-E3C4-4080-B200-EB84B3A3C463}" type="datetimeFigureOut">
              <a:rPr lang="en-US" smtClean="0"/>
              <a:t>8/19/2020</a:t>
            </a:fld>
            <a:endParaRPr lang="en-US"/>
          </a:p>
        </p:txBody>
      </p:sp>
      <p:sp>
        <p:nvSpPr>
          <p:cNvPr id="5" name="Footer Placeholder 4">
            <a:extLst>
              <a:ext uri="{FF2B5EF4-FFF2-40B4-BE49-F238E27FC236}">
                <a16:creationId xmlns:a16="http://schemas.microsoft.com/office/drawing/2014/main" id="{C0DA0907-F809-43CB-AD83-B77ACD4F85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520878A-2ED9-4A5D-ADFD-247772A4F8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4D0BEB-66D6-4862-B360-B4BADAB20C96}" type="slidenum">
              <a:rPr lang="en-US" smtClean="0"/>
              <a:t>‹#›</a:t>
            </a:fld>
            <a:endParaRPr lang="en-US"/>
          </a:p>
        </p:txBody>
      </p:sp>
    </p:spTree>
    <p:extLst>
      <p:ext uri="{BB962C8B-B14F-4D97-AF65-F5344CB8AC3E}">
        <p14:creationId xmlns:p14="http://schemas.microsoft.com/office/powerpoint/2010/main" val="2466324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7483" y="1094128"/>
            <a:ext cx="10974916" cy="852064"/>
          </a:xfrm>
          <a:prstGeom prst="rect">
            <a:avLst/>
          </a:prstGeom>
        </p:spPr>
        <p:txBody>
          <a:bodyPr vert="horz" lIns="0" tIns="0" rIns="0" bIns="0" rtlCol="0" anchor="t" anchorCtr="0">
            <a:noAutofit/>
          </a:bodyPr>
          <a:lstStyle/>
          <a:p>
            <a:r>
              <a:rPr lang="en-US"/>
              <a:t>48pt Intel Clear pro bold Headline</a:t>
            </a:r>
          </a:p>
        </p:txBody>
      </p:sp>
      <p:sp>
        <p:nvSpPr>
          <p:cNvPr id="3" name="Text Placeholder 2"/>
          <p:cNvSpPr>
            <a:spLocks noGrp="1"/>
          </p:cNvSpPr>
          <p:nvPr>
            <p:ph type="body" idx="1"/>
          </p:nvPr>
        </p:nvSpPr>
        <p:spPr>
          <a:xfrm>
            <a:off x="607484" y="2028989"/>
            <a:ext cx="10970683" cy="4567767"/>
          </a:xfrm>
          <a:prstGeom prst="rect">
            <a:avLst/>
          </a:prstGeom>
        </p:spPr>
        <p:txBody>
          <a:bodyPr vert="horz" lIns="0" tIns="0" rIns="0" bIns="0" rtlCol="0">
            <a:noAutofit/>
          </a:bodyPr>
          <a:lstStyle/>
          <a:p>
            <a:pPr lvl="0"/>
            <a:r>
              <a:rPr lang="en-US"/>
              <a:t>16pt Intel Clear body text</a:t>
            </a:r>
          </a:p>
          <a:p>
            <a:pPr lvl="1"/>
            <a:r>
              <a:rPr lang="en-US"/>
              <a:t>14pt Intel Clear bullet one</a:t>
            </a:r>
          </a:p>
          <a:p>
            <a:pPr lvl="2"/>
            <a:r>
              <a:rPr lang="en-US"/>
              <a:t>14pt Intel Clear sub-bullet</a:t>
            </a:r>
          </a:p>
          <a:p>
            <a:pPr lvl="3"/>
            <a:r>
              <a:rPr lang="en-US"/>
              <a:t>12pt Intel Clear fourth level</a:t>
            </a:r>
          </a:p>
          <a:p>
            <a:pPr lvl="4"/>
            <a:r>
              <a:rPr lang="en-US"/>
              <a:t>12pt Intel Clear fifth level</a:t>
            </a:r>
          </a:p>
        </p:txBody>
      </p:sp>
      <p:sp>
        <p:nvSpPr>
          <p:cNvPr id="6" name="Slide Number Placeholder 5"/>
          <p:cNvSpPr>
            <a:spLocks noGrp="1"/>
          </p:cNvSpPr>
          <p:nvPr>
            <p:ph type="sldNum" sz="quarter" idx="4"/>
          </p:nvPr>
        </p:nvSpPr>
        <p:spPr>
          <a:xfrm>
            <a:off x="8739068" y="6286744"/>
            <a:ext cx="2844800" cy="365125"/>
          </a:xfrm>
          <a:prstGeom prst="rect">
            <a:avLst/>
          </a:prstGeom>
        </p:spPr>
        <p:txBody>
          <a:bodyPr vert="horz" lIns="0" tIns="0" rIns="0" bIns="0" rtlCol="0" anchor="ctr"/>
          <a:lstStyle>
            <a:lvl1pPr algn="r">
              <a:defRPr sz="1067">
                <a:solidFill>
                  <a:srgbClr val="000000"/>
                </a:solidFill>
                <a:latin typeface="+mn-lt"/>
                <a:cs typeface="Intel Clear"/>
              </a:defRPr>
            </a:lvl1pPr>
          </a:lstStyle>
          <a:p>
            <a:fld id="{EE2556C5-CE8C-6547-B838-EA80C61A4AF7}" type="slidenum">
              <a:rPr lang="en-US" smtClean="0"/>
              <a:pPr/>
              <a:t>‹#›</a:t>
            </a:fld>
            <a:endParaRPr lang="en-US"/>
          </a:p>
        </p:txBody>
      </p:sp>
      <p:pic>
        <p:nvPicPr>
          <p:cNvPr id="13" name="Picture 2" descr="\\.psf\Home\Desktop\Intel.png"/>
          <p:cNvPicPr>
            <a:picLocks noChangeAspect="1" noChangeArrowheads="1"/>
          </p:cNvPicPr>
          <p:nvPr userDrawn="1"/>
        </p:nvPicPr>
        <p:blipFill>
          <a:blip r:embed="rId33" cstate="email">
            <a:extLst>
              <a:ext uri="{28A0092B-C50C-407E-A947-70E740481C1C}">
                <a14:useLocalDpi xmlns:a14="http://schemas.microsoft.com/office/drawing/2010/main" val="0"/>
              </a:ext>
            </a:extLst>
          </a:blip>
          <a:srcRect/>
          <a:stretch>
            <a:fillRect/>
          </a:stretch>
        </p:blipFill>
        <p:spPr bwMode="auto">
          <a:xfrm>
            <a:off x="607484" y="6295761"/>
            <a:ext cx="485781" cy="320175"/>
          </a:xfrm>
          <a:prstGeom prst="rect">
            <a:avLst/>
          </a:prstGeom>
          <a:noFill/>
          <a:extLst>
            <a:ext uri="{909E8E84-426E-40dd-AFC4-6F175D3DCCD1}">
              <a14:hiddenFill xmlns="" xmlns:a14="http://schemas.microsoft.com/office/drawing/2010/main">
                <a:solidFill>
                  <a:srgbClr val="FFFFFF"/>
                </a:solidFill>
              </a14:hiddenFill>
            </a:ext>
          </a:extLst>
        </p:spPr>
      </p:pic>
      <p:sp>
        <p:nvSpPr>
          <p:cNvPr id="7" name="Footer Placeholder 3">
            <a:extLst>
              <a:ext uri="{FF2B5EF4-FFF2-40B4-BE49-F238E27FC236}">
                <a16:creationId xmlns:a16="http://schemas.microsoft.com/office/drawing/2014/main" id="{88865EBC-ED64-4645-A86C-F3B6CACAE6B3}"/>
              </a:ext>
            </a:extLst>
          </p:cNvPr>
          <p:cNvSpPr>
            <a:spLocks noGrp="1"/>
          </p:cNvSpPr>
          <p:nvPr>
            <p:ph type="ftr" sz="quarter" idx="3"/>
          </p:nvPr>
        </p:nvSpPr>
        <p:spPr>
          <a:xfrm>
            <a:off x="607483" y="169185"/>
            <a:ext cx="6153535" cy="366183"/>
          </a:xfrm>
          <a:prstGeom prst="rect">
            <a:avLst/>
          </a:prstGeom>
        </p:spPr>
        <p:txBody>
          <a:bodyPr vert="horz" lIns="0" tIns="0" rIns="0" bIns="0" rtlCol="0" anchor="ctr"/>
          <a:lstStyle>
            <a:lvl1pPr>
              <a:defRPr lang="en-US" sz="933" b="1" spc="400">
                <a:solidFill>
                  <a:srgbClr val="000000"/>
                </a:solidFill>
                <a:cs typeface="Intel Clear"/>
              </a:defRPr>
            </a:lvl1pPr>
          </a:lstStyle>
          <a:p>
            <a:r>
              <a:rPr lang="en-US"/>
              <a:t>INTEL® DISTRIBUTION OF O</a:t>
            </a:r>
            <a:r>
              <a:rPr lang="en-US" sz="800"/>
              <a:t>PEN</a:t>
            </a:r>
            <a:r>
              <a:rPr lang="en-US"/>
              <a:t>VINO™ TOOLKIT</a:t>
            </a:r>
          </a:p>
        </p:txBody>
      </p:sp>
    </p:spTree>
    <p:extLst>
      <p:ext uri="{BB962C8B-B14F-4D97-AF65-F5344CB8AC3E}">
        <p14:creationId xmlns:p14="http://schemas.microsoft.com/office/powerpoint/2010/main" val="33026823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85" rtl="0" eaLnBrk="1" latinLnBrk="0" hangingPunct="1">
        <a:lnSpc>
          <a:spcPct val="75000"/>
        </a:lnSpc>
        <a:spcBef>
          <a:spcPct val="0"/>
        </a:spcBef>
        <a:buNone/>
        <a:defRPr sz="6400" b="0" i="0" kern="1200" cap="all" spc="0" normalizeH="0" baseline="0">
          <a:solidFill>
            <a:schemeClr val="tx1"/>
          </a:solidFill>
          <a:latin typeface="+mj-lt"/>
          <a:ea typeface="Intel Clear"/>
          <a:cs typeface="Intel Clear Pro Bold"/>
        </a:defRPr>
      </a:lvl1pPr>
    </p:titleStyle>
    <p:bodyStyle>
      <a:lvl1pPr marL="0" indent="0" algn="l" defTabSz="609585" rtl="0" eaLnBrk="1" latinLnBrk="0" hangingPunct="1">
        <a:spcBef>
          <a:spcPts val="1600"/>
        </a:spcBef>
        <a:spcAft>
          <a:spcPts val="0"/>
        </a:spcAft>
        <a:buFont typeface="Wingdings" panose="05000000000000000000" pitchFamily="2" charset="2"/>
        <a:buNone/>
        <a:defRPr sz="2133" b="0" kern="1200">
          <a:solidFill>
            <a:srgbClr val="0071C5"/>
          </a:solidFill>
          <a:latin typeface="+mn-lt"/>
          <a:ea typeface="+mn-ea"/>
          <a:cs typeface="Intel Clear" panose="020B0604020203020204" pitchFamily="34" charset="0"/>
        </a:defRPr>
      </a:lvl1pPr>
      <a:lvl2pPr marL="300559" indent="-300559" algn="l" defTabSz="609585" rtl="0" eaLnBrk="1" latinLnBrk="0" hangingPunct="1">
        <a:spcBef>
          <a:spcPts val="1600"/>
        </a:spcBef>
        <a:buFont typeface="Wingdings" charset="2"/>
        <a:buChar char="§"/>
        <a:defRPr sz="1867" kern="1200" baseline="0">
          <a:solidFill>
            <a:schemeClr val="tx2"/>
          </a:solidFill>
          <a:latin typeface="+mn-lt"/>
          <a:ea typeface="+mn-ea"/>
          <a:cs typeface="Intel Clear" panose="020B0604020203020204" pitchFamily="34" charset="0"/>
        </a:defRPr>
      </a:lvl2pPr>
      <a:lvl3pPr marL="607469" indent="-224361" algn="l" defTabSz="609585" rtl="0" eaLnBrk="1" latinLnBrk="0" hangingPunct="1">
        <a:spcBef>
          <a:spcPts val="1067"/>
        </a:spcBef>
        <a:buFont typeface="Intel Clear" panose="020B0604020203020204" pitchFamily="34" charset="0"/>
        <a:buChar char="–"/>
        <a:defRPr sz="1867" kern="1200">
          <a:solidFill>
            <a:schemeClr val="tx2"/>
          </a:solidFill>
          <a:latin typeface="+mn-lt"/>
          <a:ea typeface="+mn-ea"/>
          <a:cs typeface="Intel Clear" panose="020B0604020203020204" pitchFamily="34" charset="0"/>
        </a:defRPr>
      </a:lvl3pPr>
      <a:lvl4pPr marL="918610" indent="-232828" algn="l" defTabSz="609585" rtl="0" eaLnBrk="1" latinLnBrk="0" hangingPunct="1">
        <a:spcBef>
          <a:spcPct val="20000"/>
        </a:spcBef>
        <a:buFont typeface="Arial"/>
        <a:buChar char="–"/>
        <a:defRPr sz="1600" kern="1200">
          <a:solidFill>
            <a:schemeClr val="tx2"/>
          </a:solidFill>
          <a:latin typeface="+mn-lt"/>
          <a:ea typeface="+mn-ea"/>
          <a:cs typeface="Intel Clear" panose="020B0604020203020204" pitchFamily="34" charset="0"/>
        </a:defRPr>
      </a:lvl4pPr>
      <a:lvl5pPr marL="1221287" indent="-222245" algn="l" defTabSz="609585" rtl="0" eaLnBrk="1" latinLnBrk="0" hangingPunct="1">
        <a:spcBef>
          <a:spcPct val="20000"/>
        </a:spcBef>
        <a:buFont typeface="Intel Clear" panose="020B0604020203020204" pitchFamily="34" charset="0"/>
        <a:buChar char="–"/>
        <a:defRPr sz="1600" kern="1200">
          <a:solidFill>
            <a:schemeClr val="tx2"/>
          </a:solidFill>
          <a:latin typeface="+mn-lt"/>
          <a:ea typeface="+mn-ea"/>
          <a:cs typeface="Intel Clear" panose="020B0604020203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rgbClr val="0071C5">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71952" y="304700"/>
            <a:ext cx="11248101" cy="769441"/>
          </a:xfrm>
          <a:prstGeom prst="rect">
            <a:avLst/>
          </a:prstGeom>
        </p:spPr>
        <p:txBody>
          <a:bodyPr vert="horz" lIns="91440" tIns="45720" rIns="91440" bIns="45720" rtlCol="0" anchor="t" anchorCtr="0">
            <a:spAutoFit/>
          </a:bodyPr>
          <a:lstStyle/>
          <a:p>
            <a:pPr lvl="0"/>
            <a:r>
              <a:rPr lang="en-US" dirty="0"/>
              <a:t>Click to edit Master title style</a:t>
            </a:r>
          </a:p>
        </p:txBody>
      </p:sp>
      <p:sp>
        <p:nvSpPr>
          <p:cNvPr id="3" name="Text Placeholder 2"/>
          <p:cNvSpPr>
            <a:spLocks noGrp="1"/>
          </p:cNvSpPr>
          <p:nvPr>
            <p:ph type="body" idx="1"/>
          </p:nvPr>
        </p:nvSpPr>
        <p:spPr>
          <a:xfrm>
            <a:off x="471952" y="1558457"/>
            <a:ext cx="11248101" cy="4824653"/>
          </a:xfrm>
          <a:prstGeom prst="rect">
            <a:avLst/>
          </a:prstGeom>
        </p:spPr>
        <p:txBody>
          <a:bodyPr vert="horz" lIns="91440" tIns="45720" rIns="91440" bIns="45720" rtlCol="0">
            <a:noAutofit/>
          </a:bodyPr>
          <a:lstStyle/>
          <a:p>
            <a:pPr lvl="0">
              <a:buClr>
                <a:schemeClr val="tx1"/>
              </a:buClr>
            </a:pPr>
            <a:r>
              <a:rPr lang="en-US" dirty="0"/>
              <a:t>Click to edit Master text styles</a:t>
            </a:r>
          </a:p>
          <a:p>
            <a:pPr lvl="1">
              <a:buClr>
                <a:schemeClr val="tx1"/>
              </a:buClr>
            </a:pPr>
            <a:r>
              <a:rPr lang="en-US" dirty="0"/>
              <a:t>Second level</a:t>
            </a:r>
          </a:p>
          <a:p>
            <a:pPr lvl="2">
              <a:buClr>
                <a:schemeClr val="tx1"/>
              </a:buClr>
            </a:pPr>
            <a:r>
              <a:rPr lang="en-US" dirty="0"/>
              <a:t>Third level</a:t>
            </a:r>
          </a:p>
          <a:p>
            <a:pPr lvl="3">
              <a:buClr>
                <a:schemeClr val="tx1"/>
              </a:buClr>
            </a:pPr>
            <a:r>
              <a:rPr lang="en-US" dirty="0"/>
              <a:t>Fourth level</a:t>
            </a:r>
          </a:p>
          <a:p>
            <a:pPr lvl="4">
              <a:buClr>
                <a:schemeClr val="tx1"/>
              </a:buClr>
            </a:pPr>
            <a:r>
              <a:rPr lang="en-US" dirty="0"/>
              <a:t>Fifth level</a:t>
            </a:r>
          </a:p>
        </p:txBody>
      </p:sp>
    </p:spTree>
    <p:extLst>
      <p:ext uri="{BB962C8B-B14F-4D97-AF65-F5344CB8AC3E}">
        <p14:creationId xmlns:p14="http://schemas.microsoft.com/office/powerpoint/2010/main" val="3496159980"/>
      </p:ext>
    </p:extLst>
  </p:cSld>
  <p:clrMap bg1="dk1" tx1="lt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10" rtl="0" eaLnBrk="1" latinLnBrk="0" hangingPunct="1">
        <a:lnSpc>
          <a:spcPct val="100000"/>
        </a:lnSpc>
        <a:spcBef>
          <a:spcPct val="0"/>
        </a:spcBef>
        <a:buNone/>
        <a:defRPr lang="en-US" sz="4250" b="0" kern="1200" dirty="0">
          <a:solidFill>
            <a:schemeClr val="tx1"/>
          </a:solidFill>
          <a:latin typeface="+mj-lt"/>
          <a:ea typeface="+mj-ea"/>
          <a:cs typeface="+mj-cs"/>
        </a:defRPr>
      </a:lvl1pPr>
    </p:titleStyle>
    <p:bodyStyle>
      <a:lvl1pPr marL="0" indent="0" algn="l" defTabSz="1219110" rtl="0" eaLnBrk="1" latinLnBrk="0" hangingPunct="1">
        <a:spcBef>
          <a:spcPts val="800"/>
        </a:spcBef>
        <a:buClr>
          <a:schemeClr val="accent2"/>
        </a:buClr>
        <a:buFont typeface="Wingdings" panose="05000000000000000000" pitchFamily="2" charset="2"/>
        <a:buNone/>
        <a:defRPr lang="en-US" sz="2400" kern="1200" dirty="0">
          <a:solidFill>
            <a:schemeClr val="tx1"/>
          </a:solidFill>
          <a:latin typeface="+mn-lt"/>
          <a:ea typeface="+mn-ea"/>
          <a:cs typeface="+mn-cs"/>
        </a:defRPr>
      </a:lvl1pPr>
      <a:lvl2pPr marL="228584" indent="-228584" algn="l" defTabSz="1219110" rtl="0" eaLnBrk="1" latinLnBrk="0" hangingPunct="1">
        <a:spcBef>
          <a:spcPts val="800"/>
        </a:spcBef>
        <a:buClr>
          <a:schemeClr val="tx2"/>
        </a:buClr>
        <a:buFont typeface="Wingdings" panose="05000000000000000000" pitchFamily="2" charset="2"/>
        <a:buChar char="§"/>
        <a:defRPr lang="en-US" sz="2400" kern="1200" dirty="0">
          <a:solidFill>
            <a:schemeClr val="tx1"/>
          </a:solidFill>
          <a:latin typeface="+mn-lt"/>
          <a:ea typeface="+mn-ea"/>
          <a:cs typeface="+mn-cs"/>
        </a:defRPr>
      </a:lvl2pPr>
      <a:lvl3pPr marL="463515" indent="-228584" algn="l" defTabSz="1219110" rtl="0" eaLnBrk="1" latinLnBrk="0" hangingPunct="1">
        <a:spcBef>
          <a:spcPts val="800"/>
        </a:spcBef>
        <a:buClr>
          <a:schemeClr val="tx2"/>
        </a:buClr>
        <a:buFont typeface="Intel Clear" panose="020B0604020203020204" pitchFamily="34" charset="0"/>
        <a:buChar char="–"/>
        <a:defRPr lang="en-US" sz="2400" kern="1200" dirty="0">
          <a:solidFill>
            <a:schemeClr val="tx1"/>
          </a:solidFill>
          <a:latin typeface="+mn-lt"/>
          <a:ea typeface="+mn-ea"/>
          <a:cs typeface="+mn-cs"/>
        </a:defRPr>
      </a:lvl3pPr>
      <a:lvl4pPr marL="681518" indent="-228584" algn="l" defTabSz="1219110" rtl="0" eaLnBrk="1" latinLnBrk="0" hangingPunct="1">
        <a:spcBef>
          <a:spcPts val="800"/>
        </a:spcBef>
        <a:buClr>
          <a:schemeClr val="tx2"/>
        </a:buClr>
        <a:buFont typeface="Intel Clear" panose="020B0604020203020204" pitchFamily="34" charset="0"/>
        <a:buChar char="–"/>
        <a:defRPr lang="en-US" sz="2133" kern="1200" dirty="0">
          <a:solidFill>
            <a:schemeClr val="tx1"/>
          </a:solidFill>
          <a:latin typeface="+mn-lt"/>
          <a:ea typeface="+mn-ea"/>
          <a:cs typeface="+mn-cs"/>
        </a:defRPr>
      </a:lvl4pPr>
      <a:lvl5pPr marL="918565" indent="-224350" algn="l" defTabSz="1219110" rtl="0" eaLnBrk="1" latinLnBrk="0" hangingPunct="1">
        <a:spcBef>
          <a:spcPts val="800"/>
        </a:spcBef>
        <a:buClr>
          <a:schemeClr val="tx2"/>
        </a:buClr>
        <a:buFont typeface="Intel Clear" panose="020B0604020203020204" pitchFamily="34" charset="0"/>
        <a:buChar char="–"/>
        <a:defRPr lang="en-US" sz="1867" kern="1200" dirty="0">
          <a:solidFill>
            <a:schemeClr val="tx1"/>
          </a:solidFill>
          <a:latin typeface="+mn-lt"/>
          <a:ea typeface="+mn-ea"/>
          <a:cs typeface="+mn-cs"/>
        </a:defRPr>
      </a:lvl5pPr>
      <a:lvl6pPr marL="335254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7392">
          <p15:clr>
            <a:srgbClr val="F26B43"/>
          </p15:clr>
        </p15:guide>
        <p15:guide id="3" orient="horz" pos="720">
          <p15:clr>
            <a:srgbClr val="F26B43"/>
          </p15:clr>
        </p15:guide>
        <p15:guide id="4"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56.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notesSlide" Target="../notesSlides/notesSlide4.xml"/><Relationship Id="rId16" Type="http://schemas.openxmlformats.org/officeDocument/2006/relationships/image" Target="../media/image26.png"/><Relationship Id="rId1" Type="http://schemas.openxmlformats.org/officeDocument/2006/relationships/slideLayout" Target="../slideLayouts/slideLayout4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hyperlink" Target="http://openvino-docs.inn.intel.com/dldt_releases_2019_R3_models_develop_doc_feature_aalborov_HDDL-R_docs_wb_releases_2019_R3/_docs_install_guides_movidius_programming_guide.html" TargetMode="External"/><Relationship Id="rId15" Type="http://schemas.openxmlformats.org/officeDocument/2006/relationships/image" Target="../media/image25.png"/><Relationship Id="rId10" Type="http://schemas.openxmlformats.org/officeDocument/2006/relationships/image" Target="../media/image20.jpeg"/><Relationship Id="rId4" Type="http://schemas.openxmlformats.org/officeDocument/2006/relationships/hyperlink" Target="https://docs.openvinotoolkit.org/latest/_docs_performance_benchmarks.html" TargetMode="External"/><Relationship Id="rId9" Type="http://schemas.openxmlformats.org/officeDocument/2006/relationships/image" Target="../media/image19.png"/><Relationship Id="rId1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spcBef>
                <a:spcPts val="1200"/>
              </a:spcBef>
            </a:pPr>
            <a:r>
              <a:rPr lang="en-US" dirty="0"/>
              <a:t>Accelerators based on Intel® </a:t>
            </a:r>
            <a:r>
              <a:rPr lang="en-US" dirty="0" err="1"/>
              <a:t>Movidius</a:t>
            </a:r>
            <a:r>
              <a:rPr lang="en-US" dirty="0"/>
              <a:t>™ Vision Processing Unit</a:t>
            </a:r>
          </a:p>
        </p:txBody>
      </p:sp>
    </p:spTree>
    <p:extLst>
      <p:ext uri="{BB962C8B-B14F-4D97-AF65-F5344CB8AC3E}">
        <p14:creationId xmlns:p14="http://schemas.microsoft.com/office/powerpoint/2010/main" val="1779286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9AC605-C14A-4B9E-B0A3-E7B9B2D648F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6B2B06-9E54-432F-B86F-9D235D0C38B9}" type="slidenum">
              <a:rPr kumimoji="0" lang="en-US" sz="1100" b="0" i="0" u="none" strike="noStrike" kern="1200" cap="none" spc="0" normalizeH="0" baseline="0" noProof="0" smtClean="0">
                <a:ln>
                  <a:noFill/>
                </a:ln>
                <a:solidFill>
                  <a:prstClr val="white"/>
                </a:solidFill>
                <a:effectLst/>
                <a:uLnTx/>
                <a:uFillTx/>
                <a:latin typeface="Intel Clear"/>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dirty="0">
              <a:ln>
                <a:noFill/>
              </a:ln>
              <a:solidFill>
                <a:prstClr val="white"/>
              </a:solidFill>
              <a:effectLst/>
              <a:uLnTx/>
              <a:uFillTx/>
              <a:latin typeface="Intel Clear"/>
              <a:ea typeface="+mn-ea"/>
              <a:cs typeface="+mn-cs"/>
            </a:endParaRPr>
          </a:p>
        </p:txBody>
      </p:sp>
      <p:graphicFrame>
        <p:nvGraphicFramePr>
          <p:cNvPr id="5" name="Table 4">
            <a:extLst>
              <a:ext uri="{FF2B5EF4-FFF2-40B4-BE49-F238E27FC236}">
                <a16:creationId xmlns:a16="http://schemas.microsoft.com/office/drawing/2014/main" id="{EBF3A551-49A5-4825-806E-0B16411F14E0}"/>
              </a:ext>
            </a:extLst>
          </p:cNvPr>
          <p:cNvGraphicFramePr>
            <a:graphicFrameLocks noGrp="1"/>
          </p:cNvGraphicFramePr>
          <p:nvPr/>
        </p:nvGraphicFramePr>
        <p:xfrm>
          <a:off x="5270980" y="1999553"/>
          <a:ext cx="6391923" cy="4289139"/>
        </p:xfrm>
        <a:graphic>
          <a:graphicData uri="http://schemas.openxmlformats.org/drawingml/2006/table">
            <a:tbl>
              <a:tblPr firstRow="1" bandRow="1">
                <a:tableStyleId>{F2DE63D5-997A-4646-A377-4702673A728D}</a:tableStyleId>
              </a:tblPr>
              <a:tblGrid>
                <a:gridCol w="2310920">
                  <a:extLst>
                    <a:ext uri="{9D8B030D-6E8A-4147-A177-3AD203B41FA5}">
                      <a16:colId xmlns:a16="http://schemas.microsoft.com/office/drawing/2014/main" val="258726957"/>
                    </a:ext>
                  </a:extLst>
                </a:gridCol>
                <a:gridCol w="4081003">
                  <a:extLst>
                    <a:ext uri="{9D8B030D-6E8A-4147-A177-3AD203B41FA5}">
                      <a16:colId xmlns:a16="http://schemas.microsoft.com/office/drawing/2014/main" val="905563961"/>
                    </a:ext>
                  </a:extLst>
                </a:gridCol>
              </a:tblGrid>
              <a:tr h="346191">
                <a:tc>
                  <a:txBody>
                    <a:bodyPr/>
                    <a:lstStyle/>
                    <a:p>
                      <a:pPr algn="l"/>
                      <a:r>
                        <a:rPr lang="en-US" sz="1400" b="1" dirty="0">
                          <a:solidFill>
                            <a:schemeClr val="tx1"/>
                          </a:solidFill>
                          <a:latin typeface="+mn-lt"/>
                        </a:rPr>
                        <a:t>Vision Processing Unit (VPU)</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algn="l"/>
                      <a:r>
                        <a:rPr lang="en-US" sz="1400" b="0" kern="1200" dirty="0">
                          <a:solidFill>
                            <a:schemeClr val="tx1"/>
                          </a:solidFill>
                          <a:latin typeface="+mn-lt"/>
                          <a:ea typeface="+mn-ea"/>
                          <a:cs typeface="+mn-cs"/>
                        </a:rPr>
                        <a:t>Intel® Movidius™ Myriad™ X VPU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980383956"/>
                  </a:ext>
                </a:extLst>
              </a:tr>
              <a:tr h="346191">
                <a:tc>
                  <a:txBody>
                    <a:bodyPr/>
                    <a:lstStyle/>
                    <a:p>
                      <a:pPr algn="l"/>
                      <a:r>
                        <a:rPr lang="en-US" sz="1400" b="1" dirty="0">
                          <a:solidFill>
                            <a:schemeClr val="tx1"/>
                          </a:solidFill>
                          <a:latin typeface="+mn-lt"/>
                        </a:rPr>
                        <a:t>Software Development Ki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algn="l"/>
                      <a:r>
                        <a:rPr lang="en-US" sz="1400" b="0" kern="1200" dirty="0">
                          <a:solidFill>
                            <a:schemeClr val="tx1"/>
                          </a:solidFill>
                          <a:latin typeface="+mn-lt"/>
                          <a:ea typeface="+mn-ea"/>
                          <a:cs typeface="+mn-cs"/>
                        </a:rPr>
                        <a:t>Intel® Distribution of OpenVINO™ toolki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2775504982"/>
                  </a:ext>
                </a:extLst>
              </a:tr>
              <a:tr h="576984">
                <a:tc>
                  <a:txBody>
                    <a:bodyPr/>
                    <a:lstStyle/>
                    <a:p>
                      <a:pPr algn="l"/>
                      <a:r>
                        <a:rPr lang="en-US" sz="1400" b="1" dirty="0">
                          <a:solidFill>
                            <a:schemeClr val="tx1"/>
                          </a:solidFill>
                          <a:latin typeface="+mn-lt"/>
                        </a:rPr>
                        <a:t>Operating Software Suppo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r>
                        <a:rPr lang="en-US" sz="1400" b="0" kern="1200" dirty="0">
                          <a:solidFill>
                            <a:schemeClr val="tx1"/>
                          </a:solidFill>
                          <a:latin typeface="+mn-lt"/>
                          <a:ea typeface="+mn-ea"/>
                          <a:cs typeface="+mn-cs"/>
                        </a:rPr>
                        <a:t>Ubuntu* 16.04 or 18.04 LTS (64 bit),</a:t>
                      </a:r>
                      <a:r>
                        <a:rPr lang="en-US" sz="1400" b="0" kern="1200" baseline="0" dirty="0">
                          <a:solidFill>
                            <a:schemeClr val="tx1"/>
                          </a:solidFill>
                          <a:latin typeface="+mn-lt"/>
                          <a:ea typeface="+mn-ea"/>
                          <a:cs typeface="+mn-cs"/>
                        </a:rPr>
                        <a:t> Windows® 10 (64 bit),</a:t>
                      </a:r>
                      <a:r>
                        <a:rPr lang="en-US" sz="1400" b="0" kern="1200" dirty="0">
                          <a:solidFill>
                            <a:schemeClr val="tx1"/>
                          </a:solidFill>
                          <a:latin typeface="+mn-lt"/>
                          <a:ea typeface="+mn-ea"/>
                          <a:cs typeface="+mn-cs"/>
                        </a:rPr>
                        <a:t> CentOS* 7.4 (64 bit), macOS* 10.4.4, Raspbian*, and other via the open-source distribution of OpenVINO™ toolki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2307224460"/>
                  </a:ext>
                </a:extLst>
              </a:tr>
              <a:tr h="576984">
                <a:tc>
                  <a:txBody>
                    <a:bodyPr/>
                    <a:lstStyle/>
                    <a:p>
                      <a:pPr algn="l"/>
                      <a:r>
                        <a:rPr lang="en-US" sz="1400" b="1" dirty="0">
                          <a:solidFill>
                            <a:schemeClr val="tx1"/>
                          </a:solidFill>
                          <a:latin typeface="+mn-lt"/>
                        </a:rPr>
                        <a:t>Supported Framewor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TensorFlow*, Caffe*, MXNet*, ONNX*, and </a:t>
                      </a:r>
                      <a:r>
                        <a:rPr lang="en-US" sz="1400" b="0" dirty="0" err="1">
                          <a:solidFill>
                            <a:schemeClr val="tx1"/>
                          </a:solidFill>
                          <a:latin typeface="+mn-lt"/>
                        </a:rPr>
                        <a:t>PyTorch</a:t>
                      </a:r>
                      <a:r>
                        <a:rPr lang="en-US" sz="1400" b="0" dirty="0">
                          <a:solidFill>
                            <a:schemeClr val="tx1"/>
                          </a:solidFill>
                          <a:latin typeface="+mn-lt"/>
                        </a:rPr>
                        <a:t>* / </a:t>
                      </a:r>
                      <a:r>
                        <a:rPr lang="en-US" sz="1400" b="0" dirty="0" err="1">
                          <a:solidFill>
                            <a:schemeClr val="tx1"/>
                          </a:solidFill>
                          <a:latin typeface="+mn-lt"/>
                        </a:rPr>
                        <a:t>PaddlePaddle</a:t>
                      </a:r>
                      <a:r>
                        <a:rPr lang="en-US" sz="1400" b="0" dirty="0">
                          <a:solidFill>
                            <a:schemeClr val="tx1"/>
                          </a:solidFill>
                          <a:latin typeface="+mn-lt"/>
                        </a:rPr>
                        <a:t>* via ONNX* conver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1810725328"/>
                  </a:ext>
                </a:extLst>
              </a:tr>
              <a:tr h="346191">
                <a:tc>
                  <a:txBody>
                    <a:bodyPr/>
                    <a:lstStyle/>
                    <a:p>
                      <a:pPr algn="l"/>
                      <a:r>
                        <a:rPr lang="en-US" sz="1400" b="1" dirty="0">
                          <a:solidFill>
                            <a:schemeClr val="tx1"/>
                          </a:solidFill>
                          <a:latin typeface="+mn-lt"/>
                        </a:rPr>
                        <a:t>Connectiv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USB 3.1 Type-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4039498577"/>
                  </a:ext>
                </a:extLst>
              </a:tr>
              <a:tr h="346191">
                <a:tc>
                  <a:txBody>
                    <a:bodyPr/>
                    <a:lstStyle/>
                    <a:p>
                      <a:pPr algn="l"/>
                      <a:r>
                        <a:rPr lang="en-US" sz="1400" b="1" dirty="0">
                          <a:solidFill>
                            <a:schemeClr val="tx1"/>
                          </a:solidFill>
                          <a:latin typeface="+mn-lt"/>
                        </a:rPr>
                        <a:t>Dimens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72.5mm X 27mm X 14m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3636564867"/>
                  </a:ext>
                </a:extLst>
              </a:tr>
              <a:tr h="346191">
                <a:tc>
                  <a:txBody>
                    <a:bodyPr/>
                    <a:lstStyle/>
                    <a:p>
                      <a:pPr algn="l"/>
                      <a:r>
                        <a:rPr lang="en-US" sz="1400" b="1" dirty="0">
                          <a:solidFill>
                            <a:schemeClr val="tx1"/>
                          </a:solidFill>
                          <a:latin typeface="+mn-lt"/>
                        </a:rPr>
                        <a:t>Operating Tempera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0° - 40° 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1403054113"/>
                  </a:ext>
                </a:extLst>
              </a:tr>
              <a:tr h="346191">
                <a:tc>
                  <a:txBody>
                    <a:bodyPr/>
                    <a:lstStyle/>
                    <a:p>
                      <a:pPr algn="l"/>
                      <a:r>
                        <a:rPr lang="en-US" sz="1400" b="1" dirty="0">
                          <a:solidFill>
                            <a:schemeClr val="tx1"/>
                          </a:solidFill>
                          <a:latin typeface="+mn-lt"/>
                        </a:rPr>
                        <a:t>Material Master Numb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n-lt"/>
                        </a:rPr>
                        <a:t>96448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464194072"/>
                  </a:ext>
                </a:extLst>
              </a:tr>
              <a:tr h="346191">
                <a:tc>
                  <a:txBody>
                    <a:bodyPr/>
                    <a:lstStyle/>
                    <a:p>
                      <a:pPr algn="l"/>
                      <a:r>
                        <a:rPr lang="en-US" sz="1400" b="1" dirty="0">
                          <a:solidFill>
                            <a:schemeClr val="tx1"/>
                          </a:solidFill>
                          <a:latin typeface="+mn-lt"/>
                        </a:rPr>
                        <a:t>MSR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tc>
                  <a:txBody>
                    <a:bodyPr/>
                    <a:lstStyle/>
                    <a:p>
                      <a:pPr algn="l"/>
                      <a:r>
                        <a:rPr lang="en-US" sz="1400" b="0" kern="1200" dirty="0">
                          <a:solidFill>
                            <a:schemeClr val="tx1"/>
                          </a:solidFill>
                          <a:latin typeface="+mn-lt"/>
                          <a:ea typeface="+mn-ea"/>
                          <a:cs typeface="+mn-cs"/>
                        </a:rPr>
                        <a:t>$69</a:t>
                      </a:r>
                      <a:r>
                        <a:rPr lang="en-US" sz="1400" b="0" kern="1200" baseline="0" dirty="0">
                          <a:solidFill>
                            <a:schemeClr val="tx1"/>
                          </a:solidFill>
                          <a:latin typeface="+mn-lt"/>
                          <a:ea typeface="+mn-ea"/>
                          <a:cs typeface="+mn-cs"/>
                        </a:rPr>
                        <a:t> as of July 14</a:t>
                      </a:r>
                      <a:r>
                        <a:rPr lang="en-US" sz="1400" b="0" kern="1200" baseline="30000" dirty="0">
                          <a:solidFill>
                            <a:schemeClr val="tx1"/>
                          </a:solidFill>
                          <a:latin typeface="+mn-lt"/>
                          <a:ea typeface="+mn-ea"/>
                          <a:cs typeface="+mn-cs"/>
                        </a:rPr>
                        <a:t>th</a:t>
                      </a:r>
                      <a:r>
                        <a:rPr lang="en-US" sz="1400" b="0" kern="1200" baseline="0" dirty="0">
                          <a:solidFill>
                            <a:schemeClr val="tx1"/>
                          </a:solidFill>
                          <a:latin typeface="+mn-lt"/>
                          <a:ea typeface="+mn-ea"/>
                          <a:cs typeface="+mn-cs"/>
                        </a:rPr>
                        <a:t> 2019</a:t>
                      </a:r>
                      <a:endParaRPr lang="en-US" sz="1400" b="0"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39">
                        <a:alpha val="21000"/>
                      </a:srgbClr>
                    </a:solidFill>
                  </a:tcPr>
                </a:tc>
                <a:extLst>
                  <a:ext uri="{0D108BD9-81ED-4DB2-BD59-A6C34878D82A}">
                    <a16:rowId xmlns:a16="http://schemas.microsoft.com/office/drawing/2014/main" val="303897406"/>
                  </a:ext>
                </a:extLst>
              </a:tr>
            </a:tbl>
          </a:graphicData>
        </a:graphic>
      </p:graphicFrame>
      <p:pic>
        <p:nvPicPr>
          <p:cNvPr id="6" name="Picture 5">
            <a:extLst>
              <a:ext uri="{FF2B5EF4-FFF2-40B4-BE49-F238E27FC236}">
                <a16:creationId xmlns:a16="http://schemas.microsoft.com/office/drawing/2014/main" id="{BD31DA54-F92F-4751-853C-D1707587F24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38125" y="2817280"/>
            <a:ext cx="4905376" cy="1949594"/>
          </a:xfrm>
          <a:prstGeom prst="rect">
            <a:avLst/>
          </a:prstGeom>
        </p:spPr>
      </p:pic>
      <p:sp>
        <p:nvSpPr>
          <p:cNvPr id="8" name="Title 32">
            <a:extLst>
              <a:ext uri="{FF2B5EF4-FFF2-40B4-BE49-F238E27FC236}">
                <a16:creationId xmlns:a16="http://schemas.microsoft.com/office/drawing/2014/main" id="{8DAC2FCA-9F1A-43D1-B6B2-1BC62662AFF9}"/>
              </a:ext>
            </a:extLst>
          </p:cNvPr>
          <p:cNvSpPr txBox="1">
            <a:spLocks/>
          </p:cNvSpPr>
          <p:nvPr/>
        </p:nvSpPr>
        <p:spPr>
          <a:xfrm>
            <a:off x="4073" y="121990"/>
            <a:ext cx="12192000" cy="1502976"/>
          </a:xfrm>
          <a:prstGeom prst="rect">
            <a:avLst/>
          </a:prstGeom>
        </p:spPr>
        <p:txBody>
          <a:bodyPr vert="horz" lIns="91440" tIns="45720" rIns="91440" bIns="45720" rtlCol="0" anchor="t" anchorCtr="0">
            <a:spAutoFit/>
          </a:bodyPr>
          <a:lstStyle>
            <a:lvl1pPr algn="l" defTabSz="1219110" rtl="0" eaLnBrk="1" latinLnBrk="0" hangingPunct="1">
              <a:lnSpc>
                <a:spcPct val="100000"/>
              </a:lnSpc>
              <a:spcBef>
                <a:spcPct val="0"/>
              </a:spcBef>
              <a:buNone/>
              <a:defRPr lang="en-US" sz="4250" b="0" kern="1200" dirty="0">
                <a:solidFill>
                  <a:schemeClr val="tx1"/>
                </a:solidFill>
                <a:latin typeface="+mj-lt"/>
                <a:ea typeface="+mj-ea"/>
                <a:cs typeface="+mj-cs"/>
              </a:defRPr>
            </a:lvl1pPr>
          </a:lstStyle>
          <a:p>
            <a:pPr marL="0" marR="0" lvl="0" indent="0" algn="ctr" defTabSz="1219110" rtl="0" eaLnBrk="1" fontAlgn="auto" latinLnBrk="0" hangingPunct="1">
              <a:lnSpc>
                <a:spcPts val="5500"/>
              </a:lnSpc>
              <a:spcBef>
                <a:spcPct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Intel Clear Pro"/>
                <a:ea typeface="+mj-ea"/>
                <a:cs typeface="+mj-cs"/>
              </a:rPr>
              <a:t>Redefining the ai development kit</a:t>
            </a:r>
          </a:p>
          <a:p>
            <a:pPr marL="0" marR="0" lvl="0" indent="0" algn="ctr" defTabSz="1219110" rtl="0" eaLnBrk="1" fontAlgn="auto" latinLnBrk="0" hangingPunct="1">
              <a:lnSpc>
                <a:spcPts val="5500"/>
              </a:lnSpc>
              <a:spcBef>
                <a:spcPct val="0"/>
              </a:spcBef>
              <a:spcAft>
                <a:spcPts val="0"/>
              </a:spcAft>
              <a:buClrTx/>
              <a:buSzTx/>
              <a:buFontTx/>
              <a:buNone/>
              <a:tabLst/>
              <a:defRPr/>
            </a:pPr>
            <a:r>
              <a:rPr kumimoji="0" lang="en-US" sz="7200" b="0" i="0" u="none" strike="noStrike" kern="1200" cap="none" spc="0" normalizeH="0" baseline="0" noProof="0" dirty="0">
                <a:ln>
                  <a:noFill/>
                </a:ln>
                <a:solidFill>
                  <a:srgbClr val="F3D54E"/>
                </a:solidFill>
                <a:effectLst/>
                <a:uLnTx/>
                <a:uFillTx/>
                <a:latin typeface="Intel Clear Pro"/>
                <a:ea typeface="+mj-ea"/>
                <a:cs typeface="+mj-cs"/>
              </a:rPr>
              <a:t>Intel® neural compute stick 2</a:t>
            </a:r>
            <a:endParaRPr kumimoji="0" lang="en-US" sz="5400" b="0" i="0" u="none" strike="noStrike" kern="1200" cap="none" spc="0" normalizeH="0" baseline="0" noProof="0" dirty="0">
              <a:ln>
                <a:noFill/>
              </a:ln>
              <a:solidFill>
                <a:srgbClr val="F3D54E"/>
              </a:solidFill>
              <a:effectLst/>
              <a:uLnTx/>
              <a:uFillTx/>
              <a:latin typeface="Intel Clear Pro"/>
              <a:ea typeface="+mj-ea"/>
              <a:cs typeface="+mj-cs"/>
            </a:endParaRPr>
          </a:p>
        </p:txBody>
      </p:sp>
    </p:spTree>
    <p:extLst>
      <p:ext uri="{BB962C8B-B14F-4D97-AF65-F5344CB8AC3E}">
        <p14:creationId xmlns:p14="http://schemas.microsoft.com/office/powerpoint/2010/main" val="259596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7DE218-F40A-4ED8-966D-DCE02131B33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6B2B06-9E54-432F-B86F-9D235D0C38B9}" type="slidenum">
              <a:rPr kumimoji="0" lang="en-US" sz="1100" b="0" i="0" u="none" strike="noStrike" kern="1200" cap="none" spc="0" normalizeH="0" baseline="0" noProof="0" smtClean="0">
                <a:ln>
                  <a:noFill/>
                </a:ln>
                <a:solidFill>
                  <a:prstClr val="white"/>
                </a:solidFill>
                <a:effectLst/>
                <a:uLnTx/>
                <a:uFillTx/>
                <a:latin typeface="Intel Clear"/>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prstClr val="white"/>
              </a:solidFill>
              <a:effectLst/>
              <a:uLnTx/>
              <a:uFillTx/>
              <a:latin typeface="Intel Clear"/>
              <a:ea typeface="+mn-ea"/>
              <a:cs typeface="+mn-cs"/>
            </a:endParaRPr>
          </a:p>
        </p:txBody>
      </p:sp>
      <p:sp>
        <p:nvSpPr>
          <p:cNvPr id="7" name="Title 32">
            <a:extLst>
              <a:ext uri="{FF2B5EF4-FFF2-40B4-BE49-F238E27FC236}">
                <a16:creationId xmlns:a16="http://schemas.microsoft.com/office/drawing/2014/main" id="{4C828C62-0F60-42BC-B073-FF80AD2A2704}"/>
              </a:ext>
            </a:extLst>
          </p:cNvPr>
          <p:cNvSpPr txBox="1">
            <a:spLocks/>
          </p:cNvSpPr>
          <p:nvPr/>
        </p:nvSpPr>
        <p:spPr>
          <a:xfrm>
            <a:off x="0" y="403234"/>
            <a:ext cx="12191999" cy="1118255"/>
          </a:xfrm>
          <a:prstGeom prst="rect">
            <a:avLst/>
          </a:prstGeom>
        </p:spPr>
        <p:txBody>
          <a:bodyPr vert="horz" wrap="square" lIns="91440" tIns="45720" rIns="91440" bIns="45720" rtlCol="0" anchor="t" anchorCtr="0">
            <a:spAutoFit/>
          </a:bodyPr>
          <a:lstStyle>
            <a:lvl1pPr algn="l" defTabSz="1219110" rtl="0" eaLnBrk="1" latinLnBrk="0" hangingPunct="1">
              <a:lnSpc>
                <a:spcPct val="100000"/>
              </a:lnSpc>
              <a:spcBef>
                <a:spcPct val="0"/>
              </a:spcBef>
              <a:buNone/>
              <a:defRPr lang="en-US" sz="4250" b="0" kern="1200" dirty="0">
                <a:solidFill>
                  <a:schemeClr val="tx1"/>
                </a:solidFill>
                <a:latin typeface="+mj-lt"/>
                <a:ea typeface="+mj-ea"/>
                <a:cs typeface="+mj-cs"/>
              </a:defRPr>
            </a:lvl1pPr>
          </a:lstStyle>
          <a:p>
            <a:pPr marL="0" marR="0" lvl="0" indent="0" algn="ctr" defTabSz="1219110" rtl="0" eaLnBrk="1" fontAlgn="auto" latinLnBrk="0" hangingPunct="1">
              <a:lnSpc>
                <a:spcPts val="4000"/>
              </a:lnSpc>
              <a:spcBef>
                <a:spcPct val="0"/>
              </a:spcBef>
              <a:spcAft>
                <a:spcPts val="0"/>
              </a:spcAft>
              <a:buClrTx/>
              <a:buSzTx/>
              <a:buFontTx/>
              <a:buNone/>
              <a:tabLst/>
              <a:defRPr/>
            </a:pPr>
            <a:r>
              <a:rPr kumimoji="0" lang="en-US" sz="6000" b="1" i="0" u="none" strike="noStrike" kern="1200" cap="none" spc="0" normalizeH="0" baseline="0" noProof="0" dirty="0">
                <a:ln>
                  <a:noFill/>
                </a:ln>
                <a:solidFill>
                  <a:prstClr val="white"/>
                </a:solidFill>
                <a:effectLst/>
                <a:uLnTx/>
                <a:uFillTx/>
                <a:latin typeface="Intel Clear Pro"/>
                <a:ea typeface="+mj-ea"/>
                <a:cs typeface="+mj-cs"/>
              </a:rPr>
              <a:t>Next generation ai inference</a:t>
            </a:r>
          </a:p>
          <a:p>
            <a:pPr marL="0" marR="0" lvl="0" indent="0" algn="ctr" defTabSz="1219110" rtl="0" eaLnBrk="1" fontAlgn="auto" latinLnBrk="0" hangingPunct="1">
              <a:lnSpc>
                <a:spcPts val="4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F3D54E"/>
                </a:solidFill>
                <a:effectLst/>
                <a:uLnTx/>
                <a:uFillTx/>
                <a:latin typeface="Intel Clear Pro"/>
                <a:ea typeface="+mj-ea"/>
                <a:cs typeface="+mj-cs"/>
              </a:rPr>
              <a:t>Intel® Movidius™ myriad™ x </a:t>
            </a:r>
            <a:r>
              <a:rPr kumimoji="0" lang="en-US" sz="5400" b="0" i="0" u="none" strike="noStrike" kern="1200" cap="none" spc="0" normalizeH="0" baseline="0" noProof="0" dirty="0" err="1">
                <a:ln>
                  <a:noFill/>
                </a:ln>
                <a:solidFill>
                  <a:srgbClr val="F3D54E"/>
                </a:solidFill>
                <a:effectLst/>
                <a:uLnTx/>
                <a:uFillTx/>
                <a:latin typeface="Intel Clear Pro"/>
                <a:ea typeface="+mj-ea"/>
                <a:cs typeface="+mj-cs"/>
              </a:rPr>
              <a:t>vpu</a:t>
            </a:r>
            <a:endParaRPr kumimoji="0" lang="en-US" sz="4000" b="0" i="0" u="none" strike="noStrike" kern="1200" cap="none" spc="0" normalizeH="0" baseline="0" noProof="0" dirty="0">
              <a:ln>
                <a:noFill/>
              </a:ln>
              <a:solidFill>
                <a:srgbClr val="F3D54E"/>
              </a:solidFill>
              <a:effectLst/>
              <a:uLnTx/>
              <a:uFillTx/>
              <a:latin typeface="Intel Clear Pro"/>
              <a:ea typeface="+mj-ea"/>
              <a:cs typeface="+mj-cs"/>
            </a:endParaRPr>
          </a:p>
        </p:txBody>
      </p:sp>
      <p:sp>
        <p:nvSpPr>
          <p:cNvPr id="8" name="Rectangle 7">
            <a:extLst>
              <a:ext uri="{FF2B5EF4-FFF2-40B4-BE49-F238E27FC236}">
                <a16:creationId xmlns:a16="http://schemas.microsoft.com/office/drawing/2014/main" id="{517BF0D1-8B8C-4B91-9057-CBCEF5000F03}"/>
              </a:ext>
            </a:extLst>
          </p:cNvPr>
          <p:cNvSpPr/>
          <p:nvPr/>
        </p:nvSpPr>
        <p:spPr>
          <a:xfrm>
            <a:off x="4961655" y="2080289"/>
            <a:ext cx="5697855"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tel Clear"/>
                <a:ea typeface="Intel Clear Pro" panose="020B0804020202060201" pitchFamily="34" charset="0"/>
                <a:cs typeface="Intel Clear"/>
              </a:rPr>
              <a:t>Neural Compute Eng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Intel Clear"/>
                <a:ea typeface="+mn-ea"/>
                <a:cs typeface="+mn-cs"/>
              </a:rPr>
              <a:t>An entirely new deep neural network (DNN) inferencing engine that offers flexible interconnect and ease of configuration for on-device DNNs and computer vision applications</a:t>
            </a:r>
          </a:p>
        </p:txBody>
      </p:sp>
      <p:sp>
        <p:nvSpPr>
          <p:cNvPr id="9" name="Rectangle 8">
            <a:extLst>
              <a:ext uri="{FF2B5EF4-FFF2-40B4-BE49-F238E27FC236}">
                <a16:creationId xmlns:a16="http://schemas.microsoft.com/office/drawing/2014/main" id="{863EB8EF-EA8F-43F4-8A75-EA63698BBB1B}"/>
              </a:ext>
            </a:extLst>
          </p:cNvPr>
          <p:cNvSpPr/>
          <p:nvPr/>
        </p:nvSpPr>
        <p:spPr>
          <a:xfrm>
            <a:off x="5478863" y="3823605"/>
            <a:ext cx="4480560"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Intel Clear"/>
                <a:ea typeface="Intel Clear Pro" panose="020B0804020202060201" pitchFamily="34" charset="0"/>
                <a:cs typeface="Intel Clear"/>
              </a:rPr>
              <a:t>16 SHAVE Co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Intel Clear"/>
                <a:ea typeface="+mn-ea"/>
                <a:cs typeface="+mn-cs"/>
              </a:rPr>
              <a:t>VLIW (DSP) programmable processors are optimized for complex vision &amp; imaging workloads</a:t>
            </a:r>
          </a:p>
        </p:txBody>
      </p:sp>
    </p:spTree>
    <p:extLst>
      <p:ext uri="{BB962C8B-B14F-4D97-AF65-F5344CB8AC3E}">
        <p14:creationId xmlns:p14="http://schemas.microsoft.com/office/powerpoint/2010/main" val="332311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6758A4F-AD54-4168-8CB5-9EFAD2460899}"/>
              </a:ext>
            </a:extLst>
          </p:cNvPr>
          <p:cNvSpPr>
            <a:spLocks noGrp="1"/>
          </p:cNvSpPr>
          <p:nvPr>
            <p:ph type="body" sz="quarter" idx="15"/>
          </p:nvPr>
        </p:nvSpPr>
        <p:spPr>
          <a:xfrm>
            <a:off x="307991" y="806232"/>
            <a:ext cx="6508593" cy="431800"/>
          </a:xfrm>
        </p:spPr>
        <p:txBody>
          <a:bodyPr/>
          <a:lstStyle/>
          <a:p>
            <a:r>
              <a:rPr lang="en-IN" dirty="0"/>
              <a:t>Accelerators based on Intel® </a:t>
            </a:r>
            <a:r>
              <a:rPr lang="en-IN" dirty="0" err="1"/>
              <a:t>Movidius</a:t>
            </a:r>
            <a:r>
              <a:rPr lang="en-IN" dirty="0"/>
              <a:t>™ VPU</a:t>
            </a:r>
          </a:p>
        </p:txBody>
      </p:sp>
      <p:sp>
        <p:nvSpPr>
          <p:cNvPr id="61" name="Title 3">
            <a:extLst>
              <a:ext uri="{FF2B5EF4-FFF2-40B4-BE49-F238E27FC236}">
                <a16:creationId xmlns:a16="http://schemas.microsoft.com/office/drawing/2014/main" id="{5F0C61B0-A032-4497-AAC6-36C312AD7305}"/>
              </a:ext>
            </a:extLst>
          </p:cNvPr>
          <p:cNvSpPr>
            <a:spLocks noGrp="1"/>
          </p:cNvSpPr>
          <p:nvPr>
            <p:ph type="title"/>
          </p:nvPr>
        </p:nvSpPr>
        <p:spPr>
          <a:xfrm>
            <a:off x="303011" y="488340"/>
            <a:ext cx="11250128" cy="533480"/>
          </a:xfrm>
        </p:spPr>
        <p:txBody>
          <a:bodyPr/>
          <a:lstStyle/>
          <a:p>
            <a:r>
              <a:rPr lang="en-US" sz="3200" dirty="0"/>
              <a:t>Examples of Intel® Vision Accelerator Design Products</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2355" y="5500299"/>
            <a:ext cx="11250127" cy="414564"/>
          </a:xfrm>
          <a:prstGeom prst="rect">
            <a:avLst/>
          </a:prstGeom>
        </p:spPr>
      </p:pic>
      <p:sp>
        <p:nvSpPr>
          <p:cNvPr id="9" name="Rectangle 8"/>
          <p:cNvSpPr/>
          <p:nvPr/>
        </p:nvSpPr>
        <p:spPr>
          <a:xfrm>
            <a:off x="3570260" y="5756295"/>
            <a:ext cx="9377840" cy="523220"/>
          </a:xfrm>
          <a:prstGeom prst="rect">
            <a:avLst/>
          </a:prstGeom>
        </p:spPr>
        <p:txBody>
          <a:bodyPr wrap="square">
            <a:spAutoFit/>
          </a:bodyPr>
          <a:lstStyle/>
          <a:p>
            <a:pPr marL="0" marR="0" lvl="0" indent="0" algn="ctr" defTabSz="914400" rtl="0" eaLnBrk="1" fontAlgn="ctr" latinLnBrk="0" hangingPunct="1">
              <a:lnSpc>
                <a:spcPct val="100000"/>
              </a:lnSpc>
              <a:spcBef>
                <a:spcPts val="0"/>
              </a:spcBef>
              <a:spcAft>
                <a:spcPts val="0"/>
              </a:spcAft>
              <a:buClr>
                <a:srgbClr val="003C71"/>
              </a:buClr>
              <a:buSzTx/>
              <a:buFontTx/>
              <a:buNone/>
              <a:tabLst/>
              <a:defRPr/>
            </a:pPr>
            <a:r>
              <a:rPr kumimoji="0" lang="en-US" sz="1400" b="0" i="0" u="none" strike="noStrike" kern="120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hlinkClick r:id="rId4"/>
              </a:rPr>
              <a:t>Click here for Latest Publicly Posted Benchmarks</a:t>
            </a:r>
            <a:endParaRPr kumimoji="0" lang="en-US" sz="1400" b="0" i="0" u="none" strike="noStrike" kern="120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endParaRPr>
          </a:p>
          <a:p>
            <a:pPr marL="0" marR="0" lvl="0" indent="0" algn="ctr" defTabSz="914400" rtl="0" eaLnBrk="1" fontAlgn="ctr" latinLnBrk="0" hangingPunct="1">
              <a:lnSpc>
                <a:spcPct val="100000"/>
              </a:lnSpc>
              <a:spcBef>
                <a:spcPts val="0"/>
              </a:spcBef>
              <a:spcAft>
                <a:spcPts val="0"/>
              </a:spcAft>
              <a:buClr>
                <a:srgbClr val="003C71"/>
              </a:buClr>
              <a:buSzTx/>
              <a:buFontTx/>
              <a:buNone/>
              <a:tabLst/>
              <a:defRPr/>
            </a:pPr>
            <a:r>
              <a:rPr kumimoji="0" lang="en-US" sz="1400" b="0" i="0" u="none" strike="noStrike" kern="120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hlinkClick r:id="rId5"/>
              </a:rPr>
              <a:t>Click here for Programing Guide for Use with Intel® Distribution of </a:t>
            </a:r>
            <a:r>
              <a:rPr kumimoji="0" lang="en-US" sz="1400" b="0" i="0" u="none" strike="noStrike" kern="1200" cap="none" spc="0" normalizeH="0" baseline="0" noProof="0" dirty="0" err="1">
                <a:ln>
                  <a:noFill/>
                </a:ln>
                <a:solidFill>
                  <a:prstClr val="white"/>
                </a:solidFill>
                <a:effectLst/>
                <a:uLnTx/>
                <a:uFillTx/>
                <a:latin typeface="Intel Clear"/>
                <a:ea typeface="Intel Clear Light" panose="020B0404020203020204" pitchFamily="34" charset="0"/>
                <a:cs typeface="Intel Clear Light" panose="020B0404020203020204" pitchFamily="34" charset="0"/>
                <a:hlinkClick r:id="rId5"/>
              </a:rPr>
              <a:t>OpenVINO</a:t>
            </a:r>
            <a:r>
              <a:rPr kumimoji="0" lang="en-US" sz="1400" b="0" i="0" u="none" strike="noStrike" kern="120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hlinkClick r:id="rId5"/>
              </a:rPr>
              <a:t> toolkit </a:t>
            </a:r>
            <a:endParaRPr kumimoji="0" lang="en-US" sz="1400" b="0" i="0" u="none" strike="noStrike" kern="120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endParaRPr>
          </a:p>
        </p:txBody>
      </p:sp>
      <p:grpSp>
        <p:nvGrpSpPr>
          <p:cNvPr id="2" name="Group 1">
            <a:extLst>
              <a:ext uri="{FF2B5EF4-FFF2-40B4-BE49-F238E27FC236}">
                <a16:creationId xmlns:a16="http://schemas.microsoft.com/office/drawing/2014/main" id="{8B87D7C3-A1EF-4FF2-8B95-12E05339F8DF}"/>
              </a:ext>
            </a:extLst>
          </p:cNvPr>
          <p:cNvGrpSpPr/>
          <p:nvPr/>
        </p:nvGrpSpPr>
        <p:grpSpPr>
          <a:xfrm>
            <a:off x="1166647" y="1245261"/>
            <a:ext cx="10386491" cy="4300124"/>
            <a:chOff x="1166648" y="1678325"/>
            <a:chExt cx="7630426" cy="3867060"/>
          </a:xfrm>
        </p:grpSpPr>
        <p:sp>
          <p:nvSpPr>
            <p:cNvPr id="21" name="Rectangle 20">
              <a:extLst>
                <a:ext uri="{FF2B5EF4-FFF2-40B4-BE49-F238E27FC236}">
                  <a16:creationId xmlns:a16="http://schemas.microsoft.com/office/drawing/2014/main" id="{C04BEDFE-2C79-4165-A1F6-FC945D023F0C}"/>
                </a:ext>
              </a:extLst>
            </p:cNvPr>
            <p:cNvSpPr/>
            <p:nvPr/>
          </p:nvSpPr>
          <p:spPr>
            <a:xfrm>
              <a:off x="3080517" y="4752905"/>
              <a:ext cx="5716557" cy="792480"/>
            </a:xfrm>
            <a:prstGeom prst="rect">
              <a:avLst/>
            </a:prstGeom>
            <a:solidFill>
              <a:srgbClr val="002D55"/>
            </a:solidFill>
            <a:ln w="6350">
              <a:noFill/>
            </a:ln>
          </p:spPr>
          <p:txBody>
            <a:bodyPr wrap="square" tIns="121920" bIns="12192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7ED2F6"/>
                  </a:solidFill>
                  <a:effectLst/>
                  <a:uLnTx/>
                  <a:uFillTx/>
                  <a:latin typeface="Intel Clear Pro"/>
                  <a:ea typeface="+mn-ea"/>
                  <a:cs typeface="+mn-cs"/>
                </a:rPr>
                <a:t>INTEL® DISTRIBUTION OF OPENVINO™ TOOLKI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rPr>
                <a:t>Develop NN Model; Deploy across Intel® CPU, GPU, VPU, FPGA; Leverage common algorithms</a:t>
              </a:r>
              <a:endParaRPr kumimoji="0" lang="en-US" sz="1400" b="0" i="0" u="none" strike="noStrike" kern="0" cap="none" spc="0" normalizeH="0" baseline="0" noProof="0" dirty="0">
                <a:ln>
                  <a:noFill/>
                </a:ln>
                <a:solidFill>
                  <a:prstClr val="white"/>
                </a:solidFill>
                <a:effectLst/>
                <a:uLnTx/>
                <a:uFillTx/>
                <a:latin typeface="Intel Clear"/>
                <a:ea typeface="Intel Clear Light" panose="020B0404020203020204" pitchFamily="34" charset="0"/>
                <a:cs typeface="Intel Clear Light" panose="020B0404020203020204" pitchFamily="34" charset="0"/>
              </a:endParaRPr>
            </a:p>
          </p:txBody>
        </p:sp>
        <p:sp>
          <p:nvSpPr>
            <p:cNvPr id="58" name="TextBox 57">
              <a:extLst>
                <a:ext uri="{FF2B5EF4-FFF2-40B4-BE49-F238E27FC236}">
                  <a16:creationId xmlns:a16="http://schemas.microsoft.com/office/drawing/2014/main" id="{6D93F26D-80E2-44C7-B31B-E815C183407D}"/>
                </a:ext>
              </a:extLst>
            </p:cNvPr>
            <p:cNvSpPr txBox="1"/>
            <p:nvPr/>
          </p:nvSpPr>
          <p:spPr>
            <a:xfrm>
              <a:off x="1166648" y="4752905"/>
              <a:ext cx="1820509" cy="792480"/>
            </a:xfrm>
            <a:prstGeom prst="rect">
              <a:avLst/>
            </a:prstGeom>
            <a:solidFill>
              <a:schemeClr val="bg2"/>
            </a:solidFill>
            <a:ln w="26425" cap="flat" cmpd="sng" algn="ctr">
              <a:noFill/>
              <a:prstDash val="solid"/>
            </a:ln>
            <a:effectLst/>
          </p:spPr>
          <p:txBody>
            <a:bodyPr rot="0" spcFirstLastPara="0" vertOverflow="overflow" horzOverflow="overflow" vert="horz" wrap="square" lIns="85344" tIns="60960" rIns="0" bIns="60960" numCol="1" spcCol="0" rtlCol="0" fromWordArt="0" anchor="ctr" anchorCtr="0" forceAA="0" compatLnSpc="1">
              <a:prstTxWarp prst="textNoShape">
                <a:avLst/>
              </a:prstTxWarp>
              <a:noAutofit/>
            </a:bodyPr>
            <a:lstStyle>
              <a:defPPr>
                <a:defRPr lang="en-US"/>
              </a:defPPr>
              <a:lvl1pPr lvl="0" defTabSz="914378" fontAlgn="auto">
                <a:lnSpc>
                  <a:spcPct val="85000"/>
                </a:lnSpc>
                <a:buClrTx/>
                <a:buSzTx/>
                <a:buFontTx/>
                <a:buNone/>
                <a:tabLst/>
                <a:defRPr>
                  <a:solidFill>
                    <a:srgbClr val="7ED2F6"/>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78" rtl="0" eaLnBrk="1" fontAlgn="auto" latinLnBrk="0" hangingPunct="1">
                <a:lnSpc>
                  <a:spcPct val="85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Software tools</a:t>
              </a:r>
            </a:p>
          </p:txBody>
        </p:sp>
        <p:sp>
          <p:nvSpPr>
            <p:cNvPr id="56" name="TextBox 55">
              <a:extLst>
                <a:ext uri="{FF2B5EF4-FFF2-40B4-BE49-F238E27FC236}">
                  <a16:creationId xmlns:a16="http://schemas.microsoft.com/office/drawing/2014/main" id="{76738B8C-C4FC-484D-8577-5774BEBD9DFE}"/>
                </a:ext>
              </a:extLst>
            </p:cNvPr>
            <p:cNvSpPr txBox="1"/>
            <p:nvPr/>
          </p:nvSpPr>
          <p:spPr>
            <a:xfrm>
              <a:off x="1166648" y="3935397"/>
              <a:ext cx="1820509" cy="751832"/>
            </a:xfrm>
            <a:prstGeom prst="rect">
              <a:avLst/>
            </a:prstGeom>
            <a:solidFill>
              <a:schemeClr val="bg2"/>
            </a:solidFill>
            <a:ln w="26425" cap="flat" cmpd="sng" algn="ctr">
              <a:noFill/>
              <a:prstDash val="solid"/>
            </a:ln>
            <a:effectLst/>
          </p:spPr>
          <p:txBody>
            <a:bodyPr rot="0" spcFirstLastPara="0" vertOverflow="overflow" horzOverflow="overflow" vert="horz" wrap="square" lIns="85344" tIns="60960" rIns="0" bIns="60960" numCol="1" spcCol="0" rtlCol="0" fromWordArt="0" anchor="ctr" anchorCtr="0" forceAA="0" compatLnSpc="1">
              <a:prstTxWarp prst="textNoShape">
                <a:avLst/>
              </a:prstTxWarp>
              <a:noAutofit/>
            </a:bodyPr>
            <a:lstStyle>
              <a:defPPr>
                <a:defRPr lang="en-US"/>
              </a:defPPr>
              <a:lvl1pPr lvl="0" defTabSz="914378" fontAlgn="auto">
                <a:lnSpc>
                  <a:spcPct val="85000"/>
                </a:lnSpc>
                <a:buClrTx/>
                <a:buSzTx/>
                <a:buFontTx/>
                <a:buNone/>
                <a:tabLst/>
                <a:defRPr>
                  <a:solidFill>
                    <a:srgbClr val="7ED2F6"/>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78" rtl="0" eaLnBrk="1" fontAlgn="auto" latinLnBrk="0" hangingPunct="1">
                <a:lnSpc>
                  <a:spcPct val="85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Currently manufactured by*</a:t>
              </a:r>
            </a:p>
          </p:txBody>
        </p:sp>
        <p:sp>
          <p:nvSpPr>
            <p:cNvPr id="57" name="Rectangle 56">
              <a:extLst>
                <a:ext uri="{FF2B5EF4-FFF2-40B4-BE49-F238E27FC236}">
                  <a16:creationId xmlns:a16="http://schemas.microsoft.com/office/drawing/2014/main" id="{8707EE00-2949-45F5-B958-6C3761644193}"/>
                </a:ext>
              </a:extLst>
            </p:cNvPr>
            <p:cNvSpPr/>
            <p:nvPr/>
          </p:nvSpPr>
          <p:spPr>
            <a:xfrm>
              <a:off x="1166648" y="1678325"/>
              <a:ext cx="1820509" cy="1706880"/>
            </a:xfrm>
            <a:prstGeom prst="rect">
              <a:avLst/>
            </a:prstGeom>
            <a:solidFill>
              <a:schemeClr val="bg2"/>
            </a:solidFill>
            <a:ln w="26425" cap="flat" cmpd="sng" algn="ctr">
              <a:noFill/>
              <a:prstDash val="solid"/>
            </a:ln>
            <a:effectLst/>
          </p:spPr>
          <p:txBody>
            <a:bodyPr rot="0" spcFirstLastPara="0" vertOverflow="overflow" horzOverflow="overflow" vert="horz" wrap="square" lIns="85344" tIns="60960" rIns="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80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Example card</a:t>
              </a:r>
            </a:p>
            <a:p>
              <a:pPr marL="0" marR="0" lvl="0" indent="0" algn="l" defTabSz="1219140" rtl="0" eaLnBrk="1" fontAlgn="auto" latinLnBrk="0" hangingPunct="1">
                <a:lnSpc>
                  <a:spcPct val="80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based on</a:t>
              </a:r>
            </a:p>
            <a:p>
              <a:pPr marL="0" marR="0" lvl="0" indent="0" algn="l" defTabSz="1219140" rtl="0" eaLnBrk="1" fontAlgn="auto" latinLnBrk="0" hangingPunct="1">
                <a:lnSpc>
                  <a:spcPct val="80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Vision Accelerator Designs</a:t>
              </a:r>
            </a:p>
          </p:txBody>
        </p:sp>
        <p:sp>
          <p:nvSpPr>
            <p:cNvPr id="82" name="Rectangle 81">
              <a:extLst>
                <a:ext uri="{FF2B5EF4-FFF2-40B4-BE49-F238E27FC236}">
                  <a16:creationId xmlns:a16="http://schemas.microsoft.com/office/drawing/2014/main" id="{47AA45FE-AFC5-4771-B0C7-83A50E65B773}"/>
                </a:ext>
              </a:extLst>
            </p:cNvPr>
            <p:cNvSpPr/>
            <p:nvPr/>
          </p:nvSpPr>
          <p:spPr>
            <a:xfrm>
              <a:off x="6955478" y="1691537"/>
              <a:ext cx="1841596" cy="1706880"/>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white"/>
                  </a:solidFill>
                  <a:effectLst/>
                  <a:uLnTx/>
                  <a:uFillTx/>
                  <a:latin typeface="Intel Clear"/>
                  <a:ea typeface="+mn-ea"/>
                  <a:cs typeface="+mn-cs"/>
                </a:rPr>
                <a:t>8 Intel® </a:t>
              </a:r>
              <a:r>
                <a:rPr kumimoji="0" lang="en-US" sz="1467" b="0" i="0" u="none" strike="noStrike" kern="1200" cap="none" spc="0" normalizeH="0" baseline="0" noProof="0" err="1">
                  <a:ln>
                    <a:noFill/>
                  </a:ln>
                  <a:solidFill>
                    <a:prstClr val="white"/>
                  </a:solidFill>
                  <a:effectLst/>
                  <a:uLnTx/>
                  <a:uFillTx/>
                  <a:latin typeface="Intel Clear"/>
                  <a:ea typeface="+mn-ea"/>
                  <a:cs typeface="+mn-cs"/>
                </a:rPr>
                <a:t>Movidius</a:t>
              </a:r>
              <a:r>
                <a:rPr kumimoji="0" lang="en-US" sz="1467" b="0" i="0" u="none" strike="noStrike" kern="1200" cap="none" spc="0" normalizeH="0" baseline="0" noProof="0">
                  <a:ln>
                    <a:noFill/>
                  </a:ln>
                  <a:solidFill>
                    <a:prstClr val="white"/>
                  </a:solidFill>
                  <a:effectLst/>
                  <a:uLnTx/>
                  <a:uFillTx/>
                  <a:latin typeface="Intel Clear"/>
                  <a:ea typeface="+mn-ea"/>
                  <a:cs typeface="+mn-cs"/>
                </a:rPr>
                <a:t>™ </a:t>
              </a:r>
              <a:br>
                <a:rPr kumimoji="0" lang="en-US" sz="1467" b="0" i="0" u="none" strike="noStrike" kern="1200" cap="none" spc="0" normalizeH="0" baseline="0" noProof="0">
                  <a:ln>
                    <a:noFill/>
                  </a:ln>
                  <a:solidFill>
                    <a:prstClr val="white"/>
                  </a:solidFill>
                  <a:effectLst/>
                  <a:uLnTx/>
                  <a:uFillTx/>
                  <a:latin typeface="Intel Clear"/>
                  <a:ea typeface="+mn-ea"/>
                  <a:cs typeface="+mn-cs"/>
                </a:rPr>
              </a:br>
              <a:r>
                <a:rPr kumimoji="0" lang="en-US" sz="1467" b="0" i="0" u="none" strike="noStrike" kern="1200" cap="none" spc="0" normalizeH="0" baseline="0" noProof="0">
                  <a:ln>
                    <a:noFill/>
                  </a:ln>
                  <a:solidFill>
                    <a:prstClr val="white"/>
                  </a:solidFill>
                  <a:effectLst/>
                  <a:uLnTx/>
                  <a:uFillTx/>
                  <a:latin typeface="Intel Clear"/>
                  <a:ea typeface="+mn-ea"/>
                  <a:cs typeface="+mn-cs"/>
                </a:rPr>
                <a:t>VPUs</a:t>
              </a:r>
            </a:p>
          </p:txBody>
        </p:sp>
        <p:grpSp>
          <p:nvGrpSpPr>
            <p:cNvPr id="48" name="Group 47">
              <a:extLst>
                <a:ext uri="{FF2B5EF4-FFF2-40B4-BE49-F238E27FC236}">
                  <a16:creationId xmlns:a16="http://schemas.microsoft.com/office/drawing/2014/main" id="{24B3474D-7AC3-4820-8ECE-9D3B3030DB83}"/>
                </a:ext>
              </a:extLst>
            </p:cNvPr>
            <p:cNvGrpSpPr/>
            <p:nvPr/>
          </p:nvGrpSpPr>
          <p:grpSpPr>
            <a:xfrm>
              <a:off x="7188769" y="1820231"/>
              <a:ext cx="1441991" cy="1002456"/>
              <a:chOff x="5477880" y="1755139"/>
              <a:chExt cx="1220100" cy="726441"/>
            </a:xfrm>
          </p:grpSpPr>
          <p:pic>
            <p:nvPicPr>
              <p:cNvPr id="49" name="Picture 2" descr="product picture">
                <a:extLst>
                  <a:ext uri="{FF2B5EF4-FFF2-40B4-BE49-F238E27FC236}">
                    <a16:creationId xmlns:a16="http://schemas.microsoft.com/office/drawing/2014/main" id="{7A19863B-6EB7-4B4D-A8FF-CAFE77B687AD}"/>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t="21051" b="17891"/>
              <a:stretch/>
            </p:blipFill>
            <p:spPr bwMode="auto">
              <a:xfrm>
                <a:off x="5477880" y="1755139"/>
                <a:ext cx="819507" cy="50038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https://solutionsdirectory.intel.com/sites/default/files/shared/styles/company_logo_for_solution/public/solutions/00003.jpg?itok=gMLJRKn5">
                <a:extLst>
                  <a:ext uri="{FF2B5EF4-FFF2-40B4-BE49-F238E27FC236}">
                    <a16:creationId xmlns:a16="http://schemas.microsoft.com/office/drawing/2014/main" id="{CA3898FC-33BB-47F4-B0E1-4764FF6E1045}"/>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867400" y="1901859"/>
                <a:ext cx="830580" cy="579721"/>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Rectangle 79">
              <a:extLst>
                <a:ext uri="{FF2B5EF4-FFF2-40B4-BE49-F238E27FC236}">
                  <a16:creationId xmlns:a16="http://schemas.microsoft.com/office/drawing/2014/main" id="{79F289B5-1659-4BFA-B4B9-7066A016A6A3}"/>
                </a:ext>
              </a:extLst>
            </p:cNvPr>
            <p:cNvSpPr/>
            <p:nvPr/>
          </p:nvSpPr>
          <p:spPr>
            <a:xfrm>
              <a:off x="5042486" y="1691537"/>
              <a:ext cx="1841596" cy="1706880"/>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Intel Clear"/>
                  <a:ea typeface="+mn-ea"/>
                  <a:cs typeface="+mn-cs"/>
                </a:rPr>
                <a:t>2 Intel® </a:t>
              </a:r>
              <a:r>
                <a:rPr kumimoji="0" lang="en-US" sz="1467" b="0" i="0" u="none" strike="noStrike" kern="1200" cap="none" spc="0" normalizeH="0" baseline="0" noProof="0" dirty="0" err="1">
                  <a:ln>
                    <a:noFill/>
                  </a:ln>
                  <a:solidFill>
                    <a:prstClr val="white"/>
                  </a:solidFill>
                  <a:effectLst/>
                  <a:uLnTx/>
                  <a:uFillTx/>
                  <a:latin typeface="Intel Clear"/>
                  <a:ea typeface="+mn-ea"/>
                  <a:cs typeface="+mn-cs"/>
                </a:rPr>
                <a:t>Movidius</a:t>
              </a:r>
              <a:r>
                <a:rPr kumimoji="0" lang="en-US" sz="1467" b="0" i="0" u="none" strike="noStrike" kern="1200" cap="none" spc="0" normalizeH="0" baseline="0" noProof="0" dirty="0">
                  <a:ln>
                    <a:noFill/>
                  </a:ln>
                  <a:solidFill>
                    <a:prstClr val="white"/>
                  </a:solidFill>
                  <a:effectLst/>
                  <a:uLnTx/>
                  <a:uFillTx/>
                  <a:latin typeface="Intel Clear"/>
                  <a:ea typeface="+mn-ea"/>
                  <a:cs typeface="+mn-cs"/>
                </a:rPr>
                <a:t>™ </a:t>
              </a:r>
              <a:br>
                <a:rPr kumimoji="0" lang="en-US" sz="1467" b="0" i="0" u="none" strike="noStrike" kern="1200" cap="none" spc="0" normalizeH="0" baseline="0" noProof="0" dirty="0">
                  <a:ln>
                    <a:noFill/>
                  </a:ln>
                  <a:solidFill>
                    <a:prstClr val="white"/>
                  </a:solidFill>
                  <a:effectLst/>
                  <a:uLnTx/>
                  <a:uFillTx/>
                  <a:latin typeface="Intel Clear"/>
                  <a:ea typeface="+mn-ea"/>
                  <a:cs typeface="+mn-cs"/>
                </a:rPr>
              </a:br>
              <a:r>
                <a:rPr kumimoji="0" lang="en-US" sz="1467" b="0" i="0" u="none" strike="noStrike" kern="1200" cap="none" spc="0" normalizeH="0" baseline="0" noProof="0" dirty="0">
                  <a:ln>
                    <a:noFill/>
                  </a:ln>
                  <a:solidFill>
                    <a:prstClr val="white"/>
                  </a:solidFill>
                  <a:effectLst/>
                  <a:uLnTx/>
                  <a:uFillTx/>
                  <a:latin typeface="Intel Clear"/>
                  <a:ea typeface="+mn-ea"/>
                  <a:cs typeface="+mn-cs"/>
                </a:rPr>
                <a:t>VPUs</a:t>
              </a:r>
            </a:p>
          </p:txBody>
        </p:sp>
        <p:pic>
          <p:nvPicPr>
            <p:cNvPr id="47" name="Picture 46">
              <a:extLst>
                <a:ext uri="{FF2B5EF4-FFF2-40B4-BE49-F238E27FC236}">
                  <a16:creationId xmlns:a16="http://schemas.microsoft.com/office/drawing/2014/main" id="{2E6ECE9F-71FA-4F53-B8DA-D19BE878C66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836538" y="1925609"/>
              <a:ext cx="481460" cy="791700"/>
            </a:xfrm>
            <a:prstGeom prst="rect">
              <a:avLst/>
            </a:prstGeom>
          </p:spPr>
        </p:pic>
        <p:sp>
          <p:nvSpPr>
            <p:cNvPr id="73" name="Rectangle 72">
              <a:extLst>
                <a:ext uri="{FF2B5EF4-FFF2-40B4-BE49-F238E27FC236}">
                  <a16:creationId xmlns:a16="http://schemas.microsoft.com/office/drawing/2014/main" id="{91B4F643-202A-4C24-920A-94BE5838A152}"/>
                </a:ext>
              </a:extLst>
            </p:cNvPr>
            <p:cNvSpPr/>
            <p:nvPr/>
          </p:nvSpPr>
          <p:spPr>
            <a:xfrm>
              <a:off x="3080518" y="1678325"/>
              <a:ext cx="1841596" cy="1706880"/>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white"/>
                  </a:solidFill>
                  <a:effectLst/>
                  <a:uLnTx/>
                  <a:uFillTx/>
                  <a:latin typeface="Intel Clear"/>
                  <a:ea typeface="+mn-ea"/>
                  <a:cs typeface="+mn-cs"/>
                </a:rPr>
                <a:t>1 Intel® </a:t>
              </a:r>
              <a:r>
                <a:rPr kumimoji="0" lang="en-US" sz="1467" b="0" i="0" u="none" strike="noStrike" kern="1200" cap="none" spc="0" normalizeH="0" baseline="0" noProof="0" err="1">
                  <a:ln>
                    <a:noFill/>
                  </a:ln>
                  <a:solidFill>
                    <a:prstClr val="white"/>
                  </a:solidFill>
                  <a:effectLst/>
                  <a:uLnTx/>
                  <a:uFillTx/>
                  <a:latin typeface="Intel Clear"/>
                  <a:ea typeface="+mn-ea"/>
                  <a:cs typeface="+mn-cs"/>
                </a:rPr>
                <a:t>Movidius</a:t>
              </a:r>
              <a:r>
                <a:rPr kumimoji="0" lang="en-US" sz="1467" b="0" i="0" u="none" strike="noStrike" kern="1200" cap="none" spc="0" normalizeH="0" baseline="0" noProof="0">
                  <a:ln>
                    <a:noFill/>
                  </a:ln>
                  <a:solidFill>
                    <a:prstClr val="white"/>
                  </a:solidFill>
                  <a:effectLst/>
                  <a:uLnTx/>
                  <a:uFillTx/>
                  <a:latin typeface="Intel Clear"/>
                  <a:ea typeface="+mn-ea"/>
                  <a:cs typeface="+mn-cs"/>
                </a:rPr>
                <a:t>™ </a:t>
              </a:r>
              <a:br>
                <a:rPr kumimoji="0" lang="en-US" sz="1467" b="0" i="0" u="none" strike="noStrike" kern="1200" cap="none" spc="0" normalizeH="0" baseline="0" noProof="0">
                  <a:ln>
                    <a:noFill/>
                  </a:ln>
                  <a:solidFill>
                    <a:prstClr val="white"/>
                  </a:solidFill>
                  <a:effectLst/>
                  <a:uLnTx/>
                  <a:uFillTx/>
                  <a:latin typeface="Intel Clear"/>
                  <a:ea typeface="+mn-ea"/>
                  <a:cs typeface="+mn-cs"/>
                </a:rPr>
              </a:br>
              <a:r>
                <a:rPr kumimoji="0" lang="en-US" sz="1467" b="0" i="0" u="none" strike="noStrike" kern="1200" cap="none" spc="0" normalizeH="0" baseline="0" noProof="0">
                  <a:ln>
                    <a:noFill/>
                  </a:ln>
                  <a:solidFill>
                    <a:prstClr val="white"/>
                  </a:solidFill>
                  <a:effectLst/>
                  <a:uLnTx/>
                  <a:uFillTx/>
                  <a:latin typeface="Intel Clear"/>
                  <a:ea typeface="+mn-ea"/>
                  <a:cs typeface="+mn-cs"/>
                </a:rPr>
                <a:t>VPU</a:t>
              </a:r>
            </a:p>
          </p:txBody>
        </p:sp>
        <p:pic>
          <p:nvPicPr>
            <p:cNvPr id="46" name="Picture 45">
              <a:extLst>
                <a:ext uri="{FF2B5EF4-FFF2-40B4-BE49-F238E27FC236}">
                  <a16:creationId xmlns:a16="http://schemas.microsoft.com/office/drawing/2014/main" id="{BD89C53E-C480-40AD-868C-97F8DB31059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850930" y="1897418"/>
              <a:ext cx="521953" cy="821657"/>
            </a:xfrm>
            <a:prstGeom prst="rect">
              <a:avLst/>
            </a:prstGeom>
          </p:spPr>
        </p:pic>
        <p:sp>
          <p:nvSpPr>
            <p:cNvPr id="55" name="TextBox 54">
              <a:extLst>
                <a:ext uri="{FF2B5EF4-FFF2-40B4-BE49-F238E27FC236}">
                  <a16:creationId xmlns:a16="http://schemas.microsoft.com/office/drawing/2014/main" id="{91F860D8-26EF-414E-9349-A67B0E862D2C}"/>
                </a:ext>
              </a:extLst>
            </p:cNvPr>
            <p:cNvSpPr txBox="1"/>
            <p:nvPr/>
          </p:nvSpPr>
          <p:spPr>
            <a:xfrm>
              <a:off x="1166648" y="3455531"/>
              <a:ext cx="1820509" cy="414191"/>
            </a:xfrm>
            <a:prstGeom prst="rect">
              <a:avLst/>
            </a:prstGeom>
            <a:solidFill>
              <a:srgbClr val="003C71"/>
            </a:solidFill>
            <a:ln w="26425" cap="flat" cmpd="sng" algn="ctr">
              <a:noFill/>
              <a:prstDash val="solid"/>
            </a:ln>
            <a:effectLst/>
          </p:spPr>
          <p:txBody>
            <a:bodyPr rot="0" spcFirstLastPara="0" vertOverflow="overflow" horzOverflow="overflow" vert="horz" wrap="square" lIns="85344" tIns="60960" rIns="118533" bIns="60960" numCol="1" spcCol="0" rtlCol="0" fromWordArt="0" anchor="ctr" anchorCtr="0" forceAA="0" compatLnSpc="1">
              <a:prstTxWarp prst="textNoShape">
                <a:avLst/>
              </a:prstTxWarp>
              <a:noAutofit/>
            </a:bodyPr>
            <a:lstStyle>
              <a:defPPr>
                <a:defRPr lang="en-US"/>
              </a:defPPr>
              <a:lvl1pPr lvl="0" defTabSz="914378" fontAlgn="auto">
                <a:lnSpc>
                  <a:spcPct val="85000"/>
                </a:lnSpc>
                <a:buClrTx/>
                <a:buSzTx/>
                <a:buFontTx/>
                <a:buNone/>
                <a:tabLst/>
                <a:defRPr>
                  <a:solidFill>
                    <a:srgbClr val="7ED2F6"/>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78" rtl="0" eaLnBrk="1" fontAlgn="auto" latinLnBrk="0" hangingPunct="1">
                <a:lnSpc>
                  <a:spcPct val="85000"/>
                </a:lnSpc>
                <a:spcBef>
                  <a:spcPts val="0"/>
                </a:spcBef>
                <a:spcAft>
                  <a:spcPts val="0"/>
                </a:spcAft>
                <a:buClrTx/>
                <a:buSzTx/>
                <a:buFontTx/>
                <a:buNone/>
                <a:tabLst/>
                <a:defRPr/>
              </a:pPr>
              <a:r>
                <a:rPr kumimoji="0" lang="en-US" sz="2667" b="1" i="0" u="none" strike="noStrike" kern="1200" cap="none" spc="0" normalizeH="0" baseline="0" noProof="0">
                  <a:ln>
                    <a:noFill/>
                  </a:ln>
                  <a:solidFill>
                    <a:srgbClr val="7ED2F6"/>
                  </a:solidFill>
                  <a:effectLst/>
                  <a:uLnTx/>
                  <a:uFillTx/>
                  <a:latin typeface="Intel Clear Pro"/>
                  <a:ea typeface="+mn-ea"/>
                  <a:cs typeface="+mn-cs"/>
                </a:rPr>
                <a:t>Interface</a:t>
              </a:r>
            </a:p>
          </p:txBody>
        </p:sp>
        <p:sp>
          <p:nvSpPr>
            <p:cNvPr id="68" name="Rectangle 67">
              <a:extLst>
                <a:ext uri="{FF2B5EF4-FFF2-40B4-BE49-F238E27FC236}">
                  <a16:creationId xmlns:a16="http://schemas.microsoft.com/office/drawing/2014/main" id="{FF528FDF-78C0-4C84-89E8-34E948D68FAB}"/>
                </a:ext>
              </a:extLst>
            </p:cNvPr>
            <p:cNvSpPr/>
            <p:nvPr/>
          </p:nvSpPr>
          <p:spPr>
            <a:xfrm>
              <a:off x="6955478" y="3468743"/>
              <a:ext cx="1841596" cy="414191"/>
            </a:xfrm>
            <a:prstGeom prst="rect">
              <a:avLst/>
            </a:prstGeom>
            <a:solidFill>
              <a:srgbClr val="002D55"/>
            </a:solidFill>
            <a:ln w="6350">
              <a:noFill/>
            </a:ln>
          </p:spPr>
          <p:txBody>
            <a:bodyPr wrap="square" tIns="121920" bIns="12192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prstClr val="white"/>
                  </a:solidFill>
                  <a:effectLst/>
                  <a:uLnTx/>
                  <a:uFillTx/>
                  <a:latin typeface="Intel Clear (Body)"/>
                  <a:ea typeface="+mn-ea"/>
                  <a:cs typeface="+mn-cs"/>
                </a:rPr>
                <a:t>PCIe x4</a:t>
              </a:r>
            </a:p>
          </p:txBody>
        </p:sp>
        <p:sp>
          <p:nvSpPr>
            <p:cNvPr id="69" name="Rectangle 68">
              <a:extLst>
                <a:ext uri="{FF2B5EF4-FFF2-40B4-BE49-F238E27FC236}">
                  <a16:creationId xmlns:a16="http://schemas.microsoft.com/office/drawing/2014/main" id="{A1630FDD-55F5-4D9F-B282-6620D7F33635}"/>
                </a:ext>
              </a:extLst>
            </p:cNvPr>
            <p:cNvSpPr/>
            <p:nvPr/>
          </p:nvSpPr>
          <p:spPr>
            <a:xfrm>
              <a:off x="5042486" y="3468743"/>
              <a:ext cx="1841596" cy="414191"/>
            </a:xfrm>
            <a:prstGeom prst="rect">
              <a:avLst/>
            </a:prstGeom>
            <a:solidFill>
              <a:srgbClr val="002D55"/>
            </a:solidFill>
            <a:ln w="6350">
              <a:noFill/>
            </a:ln>
          </p:spPr>
          <p:txBody>
            <a:bodyPr wrap="square" tIns="121920" bIns="12192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err="1">
                  <a:ln>
                    <a:noFill/>
                  </a:ln>
                  <a:solidFill>
                    <a:prstClr val="white"/>
                  </a:solidFill>
                  <a:effectLst/>
                  <a:uLnTx/>
                  <a:uFillTx/>
                  <a:latin typeface="Intel Clear (Body)"/>
                  <a:ea typeface="+mn-ea"/>
                  <a:cs typeface="+mn-cs"/>
                </a:rPr>
                <a:t>miniPCIe</a:t>
              </a:r>
              <a:r>
                <a:rPr kumimoji="0" lang="en-US" sz="1467" b="0" i="0" u="none" strike="noStrike" kern="1200" cap="none" spc="0" normalizeH="0" baseline="0" noProof="0">
                  <a:ln>
                    <a:noFill/>
                  </a:ln>
                  <a:solidFill>
                    <a:prstClr val="white"/>
                  </a:solidFill>
                  <a:effectLst/>
                  <a:uLnTx/>
                  <a:uFillTx/>
                  <a:latin typeface="Intel Clear (Body)"/>
                  <a:ea typeface="+mn-ea"/>
                  <a:cs typeface="+mn-cs"/>
                </a:rPr>
                <a:t>**</a:t>
              </a:r>
            </a:p>
          </p:txBody>
        </p:sp>
        <p:sp>
          <p:nvSpPr>
            <p:cNvPr id="70" name="Rectangle 69">
              <a:extLst>
                <a:ext uri="{FF2B5EF4-FFF2-40B4-BE49-F238E27FC236}">
                  <a16:creationId xmlns:a16="http://schemas.microsoft.com/office/drawing/2014/main" id="{7478BA22-8A3F-4B34-B2E5-57184593BCCC}"/>
                </a:ext>
              </a:extLst>
            </p:cNvPr>
            <p:cNvSpPr/>
            <p:nvPr/>
          </p:nvSpPr>
          <p:spPr>
            <a:xfrm>
              <a:off x="3080518" y="3455531"/>
              <a:ext cx="1841596" cy="414191"/>
            </a:xfrm>
            <a:prstGeom prst="rect">
              <a:avLst/>
            </a:prstGeom>
            <a:solidFill>
              <a:srgbClr val="002D55"/>
            </a:solidFill>
            <a:ln w="6350">
              <a:noFill/>
            </a:ln>
          </p:spPr>
          <p:txBody>
            <a:bodyPr wrap="square" tIns="121920" bIns="12192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white"/>
                  </a:solidFill>
                  <a:effectLst/>
                  <a:uLnTx/>
                  <a:uFillTx/>
                  <a:latin typeface="Intel Clear (Body)"/>
                  <a:ea typeface="+mn-ea"/>
                  <a:cs typeface="+mn-cs"/>
                </a:rPr>
                <a:t>M.2, Key E</a:t>
              </a:r>
            </a:p>
          </p:txBody>
        </p:sp>
        <p:sp>
          <p:nvSpPr>
            <p:cNvPr id="39" name="Rectangle 38">
              <a:extLst>
                <a:ext uri="{FF2B5EF4-FFF2-40B4-BE49-F238E27FC236}">
                  <a16:creationId xmlns:a16="http://schemas.microsoft.com/office/drawing/2014/main" id="{04ADB6ED-37AB-498A-A293-DB6555A8AFA9}"/>
                </a:ext>
              </a:extLst>
            </p:cNvPr>
            <p:cNvSpPr/>
            <p:nvPr/>
          </p:nvSpPr>
          <p:spPr>
            <a:xfrm>
              <a:off x="3080518" y="3934086"/>
              <a:ext cx="5716556" cy="7444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Intel Clear"/>
                <a:ea typeface="+mn-ea"/>
                <a:cs typeface="+mn-cs"/>
              </a:endParaRPr>
            </a:p>
          </p:txBody>
        </p:sp>
        <p:sp>
          <p:nvSpPr>
            <p:cNvPr id="40" name="Rectangle 39">
              <a:extLst>
                <a:ext uri="{FF2B5EF4-FFF2-40B4-BE49-F238E27FC236}">
                  <a16:creationId xmlns:a16="http://schemas.microsoft.com/office/drawing/2014/main" id="{9CF19BC9-972B-40D3-8E41-4BDF703D9BB1}"/>
                </a:ext>
              </a:extLst>
            </p:cNvPr>
            <p:cNvSpPr/>
            <p:nvPr/>
          </p:nvSpPr>
          <p:spPr>
            <a:xfrm>
              <a:off x="3059946" y="4577561"/>
              <a:ext cx="4357647" cy="82010"/>
            </a:xfrm>
            <a:prstGeom prst="rect">
              <a:avLst/>
            </a:prstGeom>
          </p:spPr>
          <p:txBody>
            <a:bodyPr wrap="square" lIns="0" tIns="0" rIns="0" bIns="0">
              <a:sp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US" sz="533" b="0" i="0" u="none" strike="noStrike" kern="1200" cap="none" spc="0" normalizeH="0" baseline="0" noProof="0" dirty="0">
                  <a:ln>
                    <a:noFill/>
                  </a:ln>
                  <a:solidFill>
                    <a:prstClr val="white"/>
                  </a:solidFill>
                  <a:effectLst/>
                  <a:uLnTx/>
                  <a:uFillTx/>
                  <a:latin typeface="Intel Clear (Body)"/>
                  <a:ea typeface="+mn-ea"/>
                  <a:cs typeface="+mn-cs"/>
                </a:rPr>
                <a:t>**Other names and brands may be claimed as the property of others</a:t>
              </a:r>
            </a:p>
          </p:txBody>
        </p:sp>
        <p:pic>
          <p:nvPicPr>
            <p:cNvPr id="41" name="Picture 40">
              <a:extLst>
                <a:ext uri="{FF2B5EF4-FFF2-40B4-BE49-F238E27FC236}">
                  <a16:creationId xmlns:a16="http://schemas.microsoft.com/office/drawing/2014/main" id="{228C41E9-CA87-4EDB-8EDC-BC5BF2A4484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287451" y="4148333"/>
              <a:ext cx="471004" cy="294377"/>
            </a:xfrm>
            <a:prstGeom prst="rect">
              <a:avLst/>
            </a:prstGeom>
          </p:spPr>
        </p:pic>
        <p:pic>
          <p:nvPicPr>
            <p:cNvPr id="42" name="Picture 41">
              <a:extLst>
                <a:ext uri="{FF2B5EF4-FFF2-40B4-BE49-F238E27FC236}">
                  <a16:creationId xmlns:a16="http://schemas.microsoft.com/office/drawing/2014/main" id="{942DE000-F474-4A38-B4AE-FA3877800A8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816584" y="4193669"/>
              <a:ext cx="772501" cy="213329"/>
            </a:xfrm>
            <a:prstGeom prst="rect">
              <a:avLst/>
            </a:prstGeom>
          </p:spPr>
        </p:pic>
        <p:pic>
          <p:nvPicPr>
            <p:cNvPr id="43" name="Picture 2">
              <a:extLst>
                <a:ext uri="{FF2B5EF4-FFF2-40B4-BE49-F238E27FC236}">
                  <a16:creationId xmlns:a16="http://schemas.microsoft.com/office/drawing/2014/main" id="{1ECC528E-B8A1-4375-9F7C-B63AF338A167}"/>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6026623" y="4158918"/>
              <a:ext cx="808084" cy="269311"/>
            </a:xfrm>
            <a:prstGeom prst="rect">
              <a:avLst/>
            </a:prstGeom>
            <a:solidFill>
              <a:sysClr val="window" lastClr="FFFFFF"/>
            </a:solidFill>
          </p:spPr>
        </p:pic>
        <p:pic>
          <p:nvPicPr>
            <p:cNvPr id="44" name="Picture 43">
              <a:extLst>
                <a:ext uri="{FF2B5EF4-FFF2-40B4-BE49-F238E27FC236}">
                  <a16:creationId xmlns:a16="http://schemas.microsoft.com/office/drawing/2014/main" id="{E2D679DD-78F4-405F-86FC-B006C951049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06515" y="4154125"/>
              <a:ext cx="728068" cy="294377"/>
            </a:xfrm>
            <a:prstGeom prst="rect">
              <a:avLst/>
            </a:prstGeom>
            <a:noFill/>
            <a:ln>
              <a:noFill/>
            </a:ln>
          </p:spPr>
        </p:pic>
        <p:pic>
          <p:nvPicPr>
            <p:cNvPr id="45" name="Picture 44">
              <a:extLst>
                <a:ext uri="{FF2B5EF4-FFF2-40B4-BE49-F238E27FC236}">
                  <a16:creationId xmlns:a16="http://schemas.microsoft.com/office/drawing/2014/main" id="{6CEB62D5-B08E-4D98-B507-B46726663AA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01349" y="4183751"/>
              <a:ext cx="895599" cy="263719"/>
            </a:xfrm>
            <a:prstGeom prst="rect">
              <a:avLst/>
            </a:prstGeom>
          </p:spPr>
        </p:pic>
        <p:pic>
          <p:nvPicPr>
            <p:cNvPr id="52" name="Picture 51">
              <a:extLst>
                <a:ext uri="{FF2B5EF4-FFF2-40B4-BE49-F238E27FC236}">
                  <a16:creationId xmlns:a16="http://schemas.microsoft.com/office/drawing/2014/main" id="{13FC6326-4DE9-4406-8270-8EEA23CC0FE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649688" y="4126501"/>
              <a:ext cx="412517" cy="252283"/>
            </a:xfrm>
            <a:prstGeom prst="rect">
              <a:avLst/>
            </a:prstGeom>
            <a:solidFill>
              <a:sysClr val="window" lastClr="FFFFFF"/>
            </a:solidFill>
          </p:spPr>
        </p:pic>
        <p:pic>
          <p:nvPicPr>
            <p:cNvPr id="53" name="Picture 52">
              <a:extLst>
                <a:ext uri="{FF2B5EF4-FFF2-40B4-BE49-F238E27FC236}">
                  <a16:creationId xmlns:a16="http://schemas.microsoft.com/office/drawing/2014/main" id="{920ED9AB-DDE3-4A73-9D40-26D71FF9FA2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834583" y="4171635"/>
              <a:ext cx="987243" cy="276880"/>
            </a:xfrm>
            <a:prstGeom prst="rect">
              <a:avLst/>
            </a:prstGeom>
            <a:solidFill>
              <a:sysClr val="window" lastClr="FFFFFF"/>
            </a:solidFill>
          </p:spPr>
        </p:pic>
        <p:pic>
          <p:nvPicPr>
            <p:cNvPr id="54" name="Picture 5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609657" y="4183751"/>
              <a:ext cx="648360" cy="229460"/>
            </a:xfrm>
            <a:prstGeom prst="rect">
              <a:avLst/>
            </a:prstGeom>
          </p:spPr>
        </p:pic>
      </p:grpSp>
    </p:spTree>
    <p:extLst>
      <p:ext uri="{BB962C8B-B14F-4D97-AF65-F5344CB8AC3E}">
        <p14:creationId xmlns:p14="http://schemas.microsoft.com/office/powerpoint/2010/main" val="230193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_PPT Template_ClearPro_16x9">
  <a:themeElements>
    <a:clrScheme name="Intel Color Palette">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71C5"/>
      </a:hlink>
      <a:folHlink>
        <a:srgbClr val="00AEEF"/>
      </a:folHlink>
    </a:clrScheme>
    <a:fontScheme name="Intel Clear Pro">
      <a:majorFont>
        <a:latin typeface="Intel Clear Pro"/>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wrap="none" lIns="0" tIns="0" rIns="0" bIns="0" rtlCol="0">
        <a:spAutoFit/>
      </a:bodyPr>
      <a:lstStyle>
        <a:defPPr algn="l">
          <a:defRPr sz="1200" dirty="0" err="1" smtClean="0"/>
        </a:defPPr>
      </a:lstStyle>
    </a:txDef>
  </a:objectDefaults>
  <a:extraClrSchemeLst/>
  <a:extLst>
    <a:ext uri="{05A4C25C-085E-4340-85A3-A5531E510DB2}">
      <thm15:themeFamily xmlns:thm15="http://schemas.microsoft.com/office/thememl/2012/main" name="Presentation8" id="{10C8A4EB-E9E7-C649-A034-CD3A7FC5BE7B}" vid="{A0D8B605-52E2-CE47-8BA4-3F6BE42D7654}"/>
    </a:ext>
  </a:extLst>
</a:theme>
</file>

<file path=ppt/theme/theme3.xml><?xml version="1.0" encoding="utf-8"?>
<a:theme xmlns:a="http://schemas.openxmlformats.org/drawingml/2006/main" name="Intel Digital Dark">
  <a:themeElements>
    <a:clrScheme name="Custom 4">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C8F0FF"/>
      </a:hlink>
      <a:folHlink>
        <a:srgbClr val="FFFFF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9841A34E513FA4F982AFE18AE51EB62" ma:contentTypeVersion="5" ma:contentTypeDescription="Create a new document." ma:contentTypeScope="" ma:versionID="91de44cf3bb8344f408096d500a9ffa4">
  <xsd:schema xmlns:xsd="http://www.w3.org/2001/XMLSchema" xmlns:xs="http://www.w3.org/2001/XMLSchema" xmlns:p="http://schemas.microsoft.com/office/2006/metadata/properties" xmlns:ns3="471a18b0-418f-4b36-b4a0-9395376f7975" xmlns:ns4="77e7df31-1c55-47fc-823f-8edcb0d8233d" targetNamespace="http://schemas.microsoft.com/office/2006/metadata/properties" ma:root="true" ma:fieldsID="6abe4ee0f15044c686717febbac6cd0e" ns3:_="" ns4:_="">
    <xsd:import namespace="471a18b0-418f-4b36-b4a0-9395376f7975"/>
    <xsd:import namespace="77e7df31-1c55-47fc-823f-8edcb0d8233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1a18b0-418f-4b36-b4a0-9395376f79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e7df31-1c55-47fc-823f-8edcb0d823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DB31D03-2882-4CE5-8DE3-CB824006F66E}">
  <ds:schemaRefs>
    <ds:schemaRef ds:uri="http://schemas.microsoft.com/sharepoint/v3/contenttype/forms"/>
  </ds:schemaRefs>
</ds:datastoreItem>
</file>

<file path=customXml/itemProps2.xml><?xml version="1.0" encoding="utf-8"?>
<ds:datastoreItem xmlns:ds="http://schemas.openxmlformats.org/officeDocument/2006/customXml" ds:itemID="{A790B63B-8021-42EC-A7FE-F064A26D03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1a18b0-418f-4b36-b4a0-9395376f7975"/>
    <ds:schemaRef ds:uri="77e7df31-1c55-47fc-823f-8edcb0d823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F595AE-1134-4BF4-9FDB-B9B2BA1D78B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TotalTime>
  <Words>712</Words>
  <Application>Microsoft Office PowerPoint</Application>
  <PresentationFormat>Widescreen</PresentationFormat>
  <Paragraphs>56</Paragraphs>
  <Slides>4</Slides>
  <Notes>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8" baseType="lpstr">
      <vt:lpstr>Intel Clear (Body)</vt:lpstr>
      <vt:lpstr>Lucida Grande</vt:lpstr>
      <vt:lpstr>Arial</vt:lpstr>
      <vt:lpstr>Calibri</vt:lpstr>
      <vt:lpstr>Calibri Light</vt:lpstr>
      <vt:lpstr>Intel Clear</vt:lpstr>
      <vt:lpstr>Intel Clear Light</vt:lpstr>
      <vt:lpstr>Intel Clear Pro</vt:lpstr>
      <vt:lpstr>Intel Clear Pro Bold</vt:lpstr>
      <vt:lpstr>Wingdings</vt:lpstr>
      <vt:lpstr>Office Theme</vt:lpstr>
      <vt:lpstr>Int_PPT Template_ClearPro_16x9</vt:lpstr>
      <vt:lpstr>Intel Digital Dark</vt:lpstr>
      <vt:lpstr>think-cell Slide</vt:lpstr>
      <vt:lpstr>Accelerators based on Intel® Movidius™ Vision Processing Unit</vt:lpstr>
      <vt:lpstr>PowerPoint Presentation</vt:lpstr>
      <vt:lpstr>PowerPoint Presentation</vt:lpstr>
      <vt:lpstr>Examples of Intel® Vision Accelerator Design Produ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ors based on Intel® Movidius™ Vision Processing Unit</dc:title>
  <dc:creator>Ye, Shane</dc:creator>
  <cp:keywords>CTPClassification=CTP_NT</cp:keywords>
  <cp:lastModifiedBy>Ye, Shane</cp:lastModifiedBy>
  <cp:revision>1</cp:revision>
  <dcterms:created xsi:type="dcterms:W3CDTF">2020-08-12T21:26:22Z</dcterms:created>
  <dcterms:modified xsi:type="dcterms:W3CDTF">2020-08-19T21:0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4a2911d9-2e7d-421c-b0b1-699d1e7e1a35</vt:lpwstr>
  </property>
  <property fmtid="{D5CDD505-2E9C-101B-9397-08002B2CF9AE}" pid="3" name="CTP_TimeStamp">
    <vt:lpwstr>2020-08-12 21:27:40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ContentTypeId">
    <vt:lpwstr>0x01010059841A34E513FA4F982AFE18AE51EB62</vt:lpwstr>
  </property>
</Properties>
</file>